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4.xml" ContentType="application/vnd.openxmlformats-officedocument.presentationml.tag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tags/tag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4"/>
  </p:notesMasterIdLst>
  <p:sldIdLst>
    <p:sldId id="315" r:id="rId5"/>
    <p:sldId id="314" r:id="rId6"/>
    <p:sldId id="311" r:id="rId7"/>
    <p:sldId id="323" r:id="rId8"/>
    <p:sldId id="304" r:id="rId9"/>
    <p:sldId id="327" r:id="rId10"/>
    <p:sldId id="328" r:id="rId11"/>
    <p:sldId id="319" r:id="rId12"/>
    <p:sldId id="313" r:id="rId13"/>
  </p:sldIdLst>
  <p:sldSz cx="12192000" cy="6858000"/>
  <p:notesSz cx="6858000" cy="9144000"/>
  <p:custDataLst>
    <p:tags r:id="rId15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letusosa" id="{FA5A8899-B84F-5E46-94A4-8192503260A7}">
          <p14:sldIdLst>
            <p14:sldId id="315"/>
            <p14:sldId id="314"/>
            <p14:sldId id="311"/>
            <p14:sldId id="323"/>
            <p14:sldId id="304"/>
            <p14:sldId id="327"/>
            <p14:sldId id="328"/>
            <p14:sldId id="319"/>
            <p14:sldId id="31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9C3DB"/>
    <a:srgbClr val="EC008C"/>
    <a:srgbClr val="F599C3"/>
    <a:srgbClr val="F27CB1"/>
    <a:srgbClr val="FACEE2"/>
    <a:srgbClr val="FFD55D"/>
    <a:srgbClr val="FDE9F2"/>
    <a:srgbClr val="54C6EE"/>
    <a:srgbClr val="A9A9D5"/>
    <a:srgbClr val="FFDD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3940DDB-A833-47EA-89FD-9DBCA51C24BF}" v="1625" dt="2022-03-21T18:06:59.36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Normaali tyyli 2 - Korostu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A107856-5554-42FB-B03E-39F5DBC370BA}" styleName="Normaali tyyli 4 - Korostus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694"/>
    <p:restoredTop sz="94687"/>
  </p:normalViewPr>
  <p:slideViewPr>
    <p:cSldViewPr snapToGrid="0" snapToObjects="1">
      <p:cViewPr varScale="1">
        <p:scale>
          <a:sx n="128" d="100"/>
          <a:sy n="128" d="100"/>
        </p:scale>
        <p:origin x="252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elena Laasjärvi" userId="147922e0-9e4e-413c-924b-93f8f61c2127" providerId="ADAL" clId="{03940DDB-A833-47EA-89FD-9DBCA51C24BF}"/>
    <pc:docChg chg="undo custSel addSld delSld modSld sldOrd modSection">
      <pc:chgData name="Helena Laasjärvi" userId="147922e0-9e4e-413c-924b-93f8f61c2127" providerId="ADAL" clId="{03940DDB-A833-47EA-89FD-9DBCA51C24BF}" dt="2022-03-21T18:06:56.406" v="405" actId="47"/>
      <pc:docMkLst>
        <pc:docMk/>
      </pc:docMkLst>
      <pc:sldChg chg="del">
        <pc:chgData name="Helena Laasjärvi" userId="147922e0-9e4e-413c-924b-93f8f61c2127" providerId="ADAL" clId="{03940DDB-A833-47EA-89FD-9DBCA51C24BF}" dt="2022-03-21T18:06:56.406" v="405" actId="47"/>
        <pc:sldMkLst>
          <pc:docMk/>
          <pc:sldMk cId="48784172" sldId="257"/>
        </pc:sldMkLst>
      </pc:sldChg>
      <pc:sldChg chg="del">
        <pc:chgData name="Helena Laasjärvi" userId="147922e0-9e4e-413c-924b-93f8f61c2127" providerId="ADAL" clId="{03940DDB-A833-47EA-89FD-9DBCA51C24BF}" dt="2022-03-21T18:06:56.406" v="405" actId="47"/>
        <pc:sldMkLst>
          <pc:docMk/>
          <pc:sldMk cId="396529617" sldId="262"/>
        </pc:sldMkLst>
      </pc:sldChg>
      <pc:sldChg chg="del">
        <pc:chgData name="Helena Laasjärvi" userId="147922e0-9e4e-413c-924b-93f8f61c2127" providerId="ADAL" clId="{03940DDB-A833-47EA-89FD-9DBCA51C24BF}" dt="2022-03-21T18:06:56.406" v="405" actId="47"/>
        <pc:sldMkLst>
          <pc:docMk/>
          <pc:sldMk cId="567366138" sldId="276"/>
        </pc:sldMkLst>
      </pc:sldChg>
      <pc:sldChg chg="del">
        <pc:chgData name="Helena Laasjärvi" userId="147922e0-9e4e-413c-924b-93f8f61c2127" providerId="ADAL" clId="{03940DDB-A833-47EA-89FD-9DBCA51C24BF}" dt="2022-03-21T18:06:56.406" v="405" actId="47"/>
        <pc:sldMkLst>
          <pc:docMk/>
          <pc:sldMk cId="1436191983" sldId="277"/>
        </pc:sldMkLst>
      </pc:sldChg>
      <pc:sldChg chg="del">
        <pc:chgData name="Helena Laasjärvi" userId="147922e0-9e4e-413c-924b-93f8f61c2127" providerId="ADAL" clId="{03940DDB-A833-47EA-89FD-9DBCA51C24BF}" dt="2022-03-21T18:06:56.406" v="405" actId="47"/>
        <pc:sldMkLst>
          <pc:docMk/>
          <pc:sldMk cId="638171817" sldId="279"/>
        </pc:sldMkLst>
      </pc:sldChg>
      <pc:sldChg chg="del">
        <pc:chgData name="Helena Laasjärvi" userId="147922e0-9e4e-413c-924b-93f8f61c2127" providerId="ADAL" clId="{03940DDB-A833-47EA-89FD-9DBCA51C24BF}" dt="2022-03-21T18:06:56.406" v="405" actId="47"/>
        <pc:sldMkLst>
          <pc:docMk/>
          <pc:sldMk cId="1522835767" sldId="280"/>
        </pc:sldMkLst>
      </pc:sldChg>
      <pc:sldChg chg="del">
        <pc:chgData name="Helena Laasjärvi" userId="147922e0-9e4e-413c-924b-93f8f61c2127" providerId="ADAL" clId="{03940DDB-A833-47EA-89FD-9DBCA51C24BF}" dt="2022-03-21T18:06:56.406" v="405" actId="47"/>
        <pc:sldMkLst>
          <pc:docMk/>
          <pc:sldMk cId="2750018942" sldId="281"/>
        </pc:sldMkLst>
      </pc:sldChg>
      <pc:sldChg chg="del">
        <pc:chgData name="Helena Laasjärvi" userId="147922e0-9e4e-413c-924b-93f8f61c2127" providerId="ADAL" clId="{03940DDB-A833-47EA-89FD-9DBCA51C24BF}" dt="2022-03-21T18:06:56.406" v="405" actId="47"/>
        <pc:sldMkLst>
          <pc:docMk/>
          <pc:sldMk cId="832256426" sldId="283"/>
        </pc:sldMkLst>
      </pc:sldChg>
      <pc:sldChg chg="del">
        <pc:chgData name="Helena Laasjärvi" userId="147922e0-9e4e-413c-924b-93f8f61c2127" providerId="ADAL" clId="{03940DDB-A833-47EA-89FD-9DBCA51C24BF}" dt="2022-03-21T18:06:56.406" v="405" actId="47"/>
        <pc:sldMkLst>
          <pc:docMk/>
          <pc:sldMk cId="3030195058" sldId="284"/>
        </pc:sldMkLst>
      </pc:sldChg>
      <pc:sldChg chg="del">
        <pc:chgData name="Helena Laasjärvi" userId="147922e0-9e4e-413c-924b-93f8f61c2127" providerId="ADAL" clId="{03940DDB-A833-47EA-89FD-9DBCA51C24BF}" dt="2022-03-21T18:06:56.406" v="405" actId="47"/>
        <pc:sldMkLst>
          <pc:docMk/>
          <pc:sldMk cId="1681479401" sldId="287"/>
        </pc:sldMkLst>
      </pc:sldChg>
      <pc:sldChg chg="del">
        <pc:chgData name="Helena Laasjärvi" userId="147922e0-9e4e-413c-924b-93f8f61c2127" providerId="ADAL" clId="{03940DDB-A833-47EA-89FD-9DBCA51C24BF}" dt="2022-03-21T18:06:56.406" v="405" actId="47"/>
        <pc:sldMkLst>
          <pc:docMk/>
          <pc:sldMk cId="715913612" sldId="288"/>
        </pc:sldMkLst>
      </pc:sldChg>
      <pc:sldChg chg="del">
        <pc:chgData name="Helena Laasjärvi" userId="147922e0-9e4e-413c-924b-93f8f61c2127" providerId="ADAL" clId="{03940DDB-A833-47EA-89FD-9DBCA51C24BF}" dt="2022-03-21T18:06:56.406" v="405" actId="47"/>
        <pc:sldMkLst>
          <pc:docMk/>
          <pc:sldMk cId="752674889" sldId="289"/>
        </pc:sldMkLst>
      </pc:sldChg>
      <pc:sldChg chg="del">
        <pc:chgData name="Helena Laasjärvi" userId="147922e0-9e4e-413c-924b-93f8f61c2127" providerId="ADAL" clId="{03940DDB-A833-47EA-89FD-9DBCA51C24BF}" dt="2022-03-21T18:06:56.406" v="405" actId="47"/>
        <pc:sldMkLst>
          <pc:docMk/>
          <pc:sldMk cId="2930245678" sldId="290"/>
        </pc:sldMkLst>
      </pc:sldChg>
      <pc:sldChg chg="del">
        <pc:chgData name="Helena Laasjärvi" userId="147922e0-9e4e-413c-924b-93f8f61c2127" providerId="ADAL" clId="{03940DDB-A833-47EA-89FD-9DBCA51C24BF}" dt="2022-03-21T18:06:56.406" v="405" actId="47"/>
        <pc:sldMkLst>
          <pc:docMk/>
          <pc:sldMk cId="1374272036" sldId="291"/>
        </pc:sldMkLst>
      </pc:sldChg>
      <pc:sldChg chg="del">
        <pc:chgData name="Helena Laasjärvi" userId="147922e0-9e4e-413c-924b-93f8f61c2127" providerId="ADAL" clId="{03940DDB-A833-47EA-89FD-9DBCA51C24BF}" dt="2022-03-21T18:06:56.406" v="405" actId="47"/>
        <pc:sldMkLst>
          <pc:docMk/>
          <pc:sldMk cId="1503456678" sldId="292"/>
        </pc:sldMkLst>
      </pc:sldChg>
      <pc:sldChg chg="del">
        <pc:chgData name="Helena Laasjärvi" userId="147922e0-9e4e-413c-924b-93f8f61c2127" providerId="ADAL" clId="{03940DDB-A833-47EA-89FD-9DBCA51C24BF}" dt="2022-03-21T18:06:56.406" v="405" actId="47"/>
        <pc:sldMkLst>
          <pc:docMk/>
          <pc:sldMk cId="2362643404" sldId="293"/>
        </pc:sldMkLst>
      </pc:sldChg>
      <pc:sldChg chg="del">
        <pc:chgData name="Helena Laasjärvi" userId="147922e0-9e4e-413c-924b-93f8f61c2127" providerId="ADAL" clId="{03940DDB-A833-47EA-89FD-9DBCA51C24BF}" dt="2022-03-21T18:06:56.406" v="405" actId="47"/>
        <pc:sldMkLst>
          <pc:docMk/>
          <pc:sldMk cId="2306014607" sldId="294"/>
        </pc:sldMkLst>
      </pc:sldChg>
      <pc:sldChg chg="del">
        <pc:chgData name="Helena Laasjärvi" userId="147922e0-9e4e-413c-924b-93f8f61c2127" providerId="ADAL" clId="{03940DDB-A833-47EA-89FD-9DBCA51C24BF}" dt="2022-03-21T18:06:56.406" v="405" actId="47"/>
        <pc:sldMkLst>
          <pc:docMk/>
          <pc:sldMk cId="2948409664" sldId="295"/>
        </pc:sldMkLst>
      </pc:sldChg>
      <pc:sldChg chg="del">
        <pc:chgData name="Helena Laasjärvi" userId="147922e0-9e4e-413c-924b-93f8f61c2127" providerId="ADAL" clId="{03940DDB-A833-47EA-89FD-9DBCA51C24BF}" dt="2022-03-21T18:06:56.406" v="405" actId="47"/>
        <pc:sldMkLst>
          <pc:docMk/>
          <pc:sldMk cId="3358695604" sldId="296"/>
        </pc:sldMkLst>
      </pc:sldChg>
      <pc:sldChg chg="del">
        <pc:chgData name="Helena Laasjärvi" userId="147922e0-9e4e-413c-924b-93f8f61c2127" providerId="ADAL" clId="{03940DDB-A833-47EA-89FD-9DBCA51C24BF}" dt="2022-03-21T18:06:56.406" v="405" actId="47"/>
        <pc:sldMkLst>
          <pc:docMk/>
          <pc:sldMk cId="1902614847" sldId="298"/>
        </pc:sldMkLst>
      </pc:sldChg>
      <pc:sldChg chg="del">
        <pc:chgData name="Helena Laasjärvi" userId="147922e0-9e4e-413c-924b-93f8f61c2127" providerId="ADAL" clId="{03940DDB-A833-47EA-89FD-9DBCA51C24BF}" dt="2022-03-21T18:06:56.406" v="405" actId="47"/>
        <pc:sldMkLst>
          <pc:docMk/>
          <pc:sldMk cId="2781864839" sldId="299"/>
        </pc:sldMkLst>
      </pc:sldChg>
      <pc:sldChg chg="del">
        <pc:chgData name="Helena Laasjärvi" userId="147922e0-9e4e-413c-924b-93f8f61c2127" providerId="ADAL" clId="{03940DDB-A833-47EA-89FD-9DBCA51C24BF}" dt="2022-03-21T18:06:56.406" v="405" actId="47"/>
        <pc:sldMkLst>
          <pc:docMk/>
          <pc:sldMk cId="918289778" sldId="300"/>
        </pc:sldMkLst>
      </pc:sldChg>
      <pc:sldChg chg="del">
        <pc:chgData name="Helena Laasjärvi" userId="147922e0-9e4e-413c-924b-93f8f61c2127" providerId="ADAL" clId="{03940DDB-A833-47EA-89FD-9DBCA51C24BF}" dt="2022-03-21T18:06:56.406" v="405" actId="47"/>
        <pc:sldMkLst>
          <pc:docMk/>
          <pc:sldMk cId="3517716753" sldId="301"/>
        </pc:sldMkLst>
      </pc:sldChg>
      <pc:sldChg chg="del">
        <pc:chgData name="Helena Laasjärvi" userId="147922e0-9e4e-413c-924b-93f8f61c2127" providerId="ADAL" clId="{03940DDB-A833-47EA-89FD-9DBCA51C24BF}" dt="2022-03-21T18:06:56.406" v="405" actId="47"/>
        <pc:sldMkLst>
          <pc:docMk/>
          <pc:sldMk cId="1589890886" sldId="302"/>
        </pc:sldMkLst>
      </pc:sldChg>
      <pc:sldChg chg="del">
        <pc:chgData name="Helena Laasjärvi" userId="147922e0-9e4e-413c-924b-93f8f61c2127" providerId="ADAL" clId="{03940DDB-A833-47EA-89FD-9DBCA51C24BF}" dt="2022-03-21T18:06:56.406" v="405" actId="47"/>
        <pc:sldMkLst>
          <pc:docMk/>
          <pc:sldMk cId="4103225806" sldId="303"/>
        </pc:sldMkLst>
      </pc:sldChg>
      <pc:sldChg chg="delSp modSp mod modClrScheme delDesignElem chgLayout">
        <pc:chgData name="Helena Laasjärvi" userId="147922e0-9e4e-413c-924b-93f8f61c2127" providerId="ADAL" clId="{03940DDB-A833-47EA-89FD-9DBCA51C24BF}" dt="2022-03-21T18:02:57.977" v="391"/>
        <pc:sldMkLst>
          <pc:docMk/>
          <pc:sldMk cId="2567248277" sldId="304"/>
        </pc:sldMkLst>
        <pc:spChg chg="mod">
          <ac:chgData name="Helena Laasjärvi" userId="147922e0-9e4e-413c-924b-93f8f61c2127" providerId="ADAL" clId="{03940DDB-A833-47EA-89FD-9DBCA51C24BF}" dt="2022-03-21T18:02:44.571" v="389" actId="1076"/>
          <ac:spMkLst>
            <pc:docMk/>
            <pc:sldMk cId="2567248277" sldId="304"/>
            <ac:spMk id="10" creationId="{0AA9639B-B7E2-44C5-9CA4-50187E024E5F}"/>
          </ac:spMkLst>
        </pc:spChg>
        <pc:spChg chg="del">
          <ac:chgData name="Helena Laasjärvi" userId="147922e0-9e4e-413c-924b-93f8f61c2127" providerId="ADAL" clId="{03940DDB-A833-47EA-89FD-9DBCA51C24BF}" dt="2022-03-21T18:02:57.977" v="391"/>
          <ac:spMkLst>
            <pc:docMk/>
            <pc:sldMk cId="2567248277" sldId="304"/>
            <ac:spMk id="59" creationId="{131BAD53-4E89-4F62-BBB7-26359763ED39}"/>
          </ac:spMkLst>
        </pc:spChg>
        <pc:spChg chg="del">
          <ac:chgData name="Helena Laasjärvi" userId="147922e0-9e4e-413c-924b-93f8f61c2127" providerId="ADAL" clId="{03940DDB-A833-47EA-89FD-9DBCA51C24BF}" dt="2022-03-21T18:02:57.977" v="391"/>
          <ac:spMkLst>
            <pc:docMk/>
            <pc:sldMk cId="2567248277" sldId="304"/>
            <ac:spMk id="61" creationId="{62756DA2-40EB-4C6F-B962-5822FFB54FB6}"/>
          </ac:spMkLst>
        </pc:spChg>
        <pc:graphicFrameChg chg="mod">
          <ac:chgData name="Helena Laasjärvi" userId="147922e0-9e4e-413c-924b-93f8f61c2127" providerId="ADAL" clId="{03940DDB-A833-47EA-89FD-9DBCA51C24BF}" dt="2022-03-21T18:02:39.439" v="388" actId="1076"/>
          <ac:graphicFrameMkLst>
            <pc:docMk/>
            <pc:sldMk cId="2567248277" sldId="304"/>
            <ac:graphicFrameMk id="8" creationId="{B936F7B1-E20A-3AF0-9D08-1FF576802789}"/>
          </ac:graphicFrameMkLst>
        </pc:graphicFrameChg>
        <pc:picChg chg="mod">
          <ac:chgData name="Helena Laasjärvi" userId="147922e0-9e4e-413c-924b-93f8f61c2127" providerId="ADAL" clId="{03940DDB-A833-47EA-89FD-9DBCA51C24BF}" dt="2022-03-21T17:54:40.998" v="308" actId="1076"/>
          <ac:picMkLst>
            <pc:docMk/>
            <pc:sldMk cId="2567248277" sldId="304"/>
            <ac:picMk id="6" creationId="{9D1B725A-9F7F-4A5F-A8A5-52289C013BBA}"/>
          </ac:picMkLst>
        </pc:picChg>
      </pc:sldChg>
      <pc:sldChg chg="del">
        <pc:chgData name="Helena Laasjärvi" userId="147922e0-9e4e-413c-924b-93f8f61c2127" providerId="ADAL" clId="{03940DDB-A833-47EA-89FD-9DBCA51C24BF}" dt="2022-03-21T18:06:56.406" v="405" actId="47"/>
        <pc:sldMkLst>
          <pc:docMk/>
          <pc:sldMk cId="4070654495" sldId="305"/>
        </pc:sldMkLst>
      </pc:sldChg>
      <pc:sldChg chg="del">
        <pc:chgData name="Helena Laasjärvi" userId="147922e0-9e4e-413c-924b-93f8f61c2127" providerId="ADAL" clId="{03940DDB-A833-47EA-89FD-9DBCA51C24BF}" dt="2022-03-21T18:06:56.406" v="405" actId="47"/>
        <pc:sldMkLst>
          <pc:docMk/>
          <pc:sldMk cId="549404346" sldId="306"/>
        </pc:sldMkLst>
      </pc:sldChg>
      <pc:sldChg chg="del">
        <pc:chgData name="Helena Laasjärvi" userId="147922e0-9e4e-413c-924b-93f8f61c2127" providerId="ADAL" clId="{03940DDB-A833-47EA-89FD-9DBCA51C24BF}" dt="2022-03-21T18:06:56.406" v="405" actId="47"/>
        <pc:sldMkLst>
          <pc:docMk/>
          <pc:sldMk cId="4123276159" sldId="307"/>
        </pc:sldMkLst>
      </pc:sldChg>
      <pc:sldChg chg="del">
        <pc:chgData name="Helena Laasjärvi" userId="147922e0-9e4e-413c-924b-93f8f61c2127" providerId="ADAL" clId="{03940DDB-A833-47EA-89FD-9DBCA51C24BF}" dt="2022-03-21T18:06:56.406" v="405" actId="47"/>
        <pc:sldMkLst>
          <pc:docMk/>
          <pc:sldMk cId="1579759834" sldId="309"/>
        </pc:sldMkLst>
      </pc:sldChg>
      <pc:sldChg chg="addSp delSp modSp mod ord">
        <pc:chgData name="Helena Laasjärvi" userId="147922e0-9e4e-413c-924b-93f8f61c2127" providerId="ADAL" clId="{03940DDB-A833-47EA-89FD-9DBCA51C24BF}" dt="2022-03-21T18:06:11.956" v="404" actId="255"/>
        <pc:sldMkLst>
          <pc:docMk/>
          <pc:sldMk cId="181953243" sldId="311"/>
        </pc:sldMkLst>
        <pc:spChg chg="mod">
          <ac:chgData name="Helena Laasjärvi" userId="147922e0-9e4e-413c-924b-93f8f61c2127" providerId="ADAL" clId="{03940DDB-A833-47EA-89FD-9DBCA51C24BF}" dt="2022-03-21T18:06:11.956" v="404" actId="255"/>
          <ac:spMkLst>
            <pc:docMk/>
            <pc:sldMk cId="181953243" sldId="311"/>
            <ac:spMk id="10" creationId="{0AA9639B-B7E2-44C5-9CA4-50187E024E5F}"/>
          </ac:spMkLst>
        </pc:spChg>
        <pc:graphicFrameChg chg="mod">
          <ac:chgData name="Helena Laasjärvi" userId="147922e0-9e4e-413c-924b-93f8f61c2127" providerId="ADAL" clId="{03940DDB-A833-47EA-89FD-9DBCA51C24BF}" dt="2022-03-21T17:52:02.519" v="200" actId="1076"/>
          <ac:graphicFrameMkLst>
            <pc:docMk/>
            <pc:sldMk cId="181953243" sldId="311"/>
            <ac:graphicFrameMk id="8" creationId="{B936F7B1-E20A-3AF0-9D08-1FF576802789}"/>
          </ac:graphicFrameMkLst>
        </pc:graphicFrameChg>
        <pc:picChg chg="add mod">
          <ac:chgData name="Helena Laasjärvi" userId="147922e0-9e4e-413c-924b-93f8f61c2127" providerId="ADAL" clId="{03940DDB-A833-47EA-89FD-9DBCA51C24BF}" dt="2022-03-21T17:51:06.648" v="194" actId="1076"/>
          <ac:picMkLst>
            <pc:docMk/>
            <pc:sldMk cId="181953243" sldId="311"/>
            <ac:picMk id="5" creationId="{85B57FB7-2763-4CB3-8031-671DAB07796E}"/>
          </ac:picMkLst>
        </pc:picChg>
        <pc:picChg chg="del mod">
          <ac:chgData name="Helena Laasjärvi" userId="147922e0-9e4e-413c-924b-93f8f61c2127" providerId="ADAL" clId="{03940DDB-A833-47EA-89FD-9DBCA51C24BF}" dt="2022-03-21T17:50:57.747" v="191" actId="478"/>
          <ac:picMkLst>
            <pc:docMk/>
            <pc:sldMk cId="181953243" sldId="311"/>
            <ac:picMk id="6" creationId="{9D1B725A-9F7F-4A5F-A8A5-52289C013BBA}"/>
          </ac:picMkLst>
        </pc:picChg>
      </pc:sldChg>
      <pc:sldChg chg="del">
        <pc:chgData name="Helena Laasjärvi" userId="147922e0-9e4e-413c-924b-93f8f61c2127" providerId="ADAL" clId="{03940DDB-A833-47EA-89FD-9DBCA51C24BF}" dt="2022-03-21T18:06:56.406" v="405" actId="47"/>
        <pc:sldMkLst>
          <pc:docMk/>
          <pc:sldMk cId="2657336914" sldId="312"/>
        </pc:sldMkLst>
      </pc:sldChg>
      <pc:sldChg chg="modSp mod ord">
        <pc:chgData name="Helena Laasjärvi" userId="147922e0-9e4e-413c-924b-93f8f61c2127" providerId="ADAL" clId="{03940DDB-A833-47EA-89FD-9DBCA51C24BF}" dt="2022-03-21T18:05:09.223" v="402" actId="14100"/>
        <pc:sldMkLst>
          <pc:docMk/>
          <pc:sldMk cId="588515560" sldId="313"/>
        </pc:sldMkLst>
        <pc:picChg chg="mod">
          <ac:chgData name="Helena Laasjärvi" userId="147922e0-9e4e-413c-924b-93f8f61c2127" providerId="ADAL" clId="{03940DDB-A833-47EA-89FD-9DBCA51C24BF}" dt="2022-03-21T18:05:09.223" v="402" actId="14100"/>
          <ac:picMkLst>
            <pc:docMk/>
            <pc:sldMk cId="588515560" sldId="313"/>
            <ac:picMk id="26" creationId="{328AC4BB-AECD-47FE-B305-B95D452F1AE0}"/>
          </ac:picMkLst>
        </pc:picChg>
      </pc:sldChg>
      <pc:sldChg chg="addSp delSp modSp mod">
        <pc:chgData name="Helena Laasjärvi" userId="147922e0-9e4e-413c-924b-93f8f61c2127" providerId="ADAL" clId="{03940DDB-A833-47EA-89FD-9DBCA51C24BF}" dt="2022-03-21T17:49:04.282" v="184"/>
        <pc:sldMkLst>
          <pc:docMk/>
          <pc:sldMk cId="181922694" sldId="314"/>
        </pc:sldMkLst>
        <pc:spChg chg="mod">
          <ac:chgData name="Helena Laasjärvi" userId="147922e0-9e4e-413c-924b-93f8f61c2127" providerId="ADAL" clId="{03940DDB-A833-47EA-89FD-9DBCA51C24BF}" dt="2022-03-21T17:49:04.197" v="143" actId="948"/>
          <ac:spMkLst>
            <pc:docMk/>
            <pc:sldMk cId="181922694" sldId="314"/>
            <ac:spMk id="2" creationId="{00000000-0000-0000-0000-000000000000}"/>
          </ac:spMkLst>
        </pc:spChg>
        <pc:spChg chg="add del mod modVis">
          <ac:chgData name="Helena Laasjärvi" userId="147922e0-9e4e-413c-924b-93f8f61c2127" providerId="ADAL" clId="{03940DDB-A833-47EA-89FD-9DBCA51C24BF}" dt="2022-03-21T17:48:22.382" v="135"/>
          <ac:spMkLst>
            <pc:docMk/>
            <pc:sldMk cId="181922694" sldId="314"/>
            <ac:spMk id="21" creationId="{B88711F1-5961-48C9-84DC-3AB0BD468A88}"/>
          </ac:spMkLst>
        </pc:spChg>
        <pc:spChg chg="add del mod modVis">
          <ac:chgData name="Helena Laasjärvi" userId="147922e0-9e4e-413c-924b-93f8f61c2127" providerId="ADAL" clId="{03940DDB-A833-47EA-89FD-9DBCA51C24BF}" dt="2022-03-21T17:49:04.266" v="182"/>
          <ac:spMkLst>
            <pc:docMk/>
            <pc:sldMk cId="181922694" sldId="314"/>
            <ac:spMk id="22" creationId="{116A6830-9FC6-4707-B7A7-20DE06A6B7B7}"/>
          </ac:spMkLst>
        </pc:spChg>
        <pc:graphicFrameChg chg="mod">
          <ac:chgData name="Helena Laasjärvi" userId="147922e0-9e4e-413c-924b-93f8f61c2127" providerId="ADAL" clId="{03940DDB-A833-47EA-89FD-9DBCA51C24BF}" dt="2022-03-21T17:49:04.282" v="184"/>
          <ac:graphicFrameMkLst>
            <pc:docMk/>
            <pc:sldMk cId="181922694" sldId="314"/>
            <ac:graphicFrameMk id="6" creationId="{E1BF22A5-5A57-4AF6-B247-2D8B493D9B63}"/>
          </ac:graphicFrameMkLst>
        </pc:graphicFrameChg>
        <pc:graphicFrameChg chg="mod">
          <ac:chgData name="Helena Laasjärvi" userId="147922e0-9e4e-413c-924b-93f8f61c2127" providerId="ADAL" clId="{03940DDB-A833-47EA-89FD-9DBCA51C24BF}" dt="2022-03-21T17:48:55.754" v="141"/>
          <ac:graphicFrameMkLst>
            <pc:docMk/>
            <pc:sldMk cId="181922694" sldId="314"/>
            <ac:graphicFrameMk id="8" creationId="{311B8604-8FEE-42BB-AF19-CDBE2DDB3F11}"/>
          </ac:graphicFrameMkLst>
        </pc:graphicFrameChg>
      </pc:sldChg>
      <pc:sldChg chg="modSp mod ord">
        <pc:chgData name="Helena Laasjärvi" userId="147922e0-9e4e-413c-924b-93f8f61c2127" providerId="ADAL" clId="{03940DDB-A833-47EA-89FD-9DBCA51C24BF}" dt="2022-03-21T17:48:10.569" v="94"/>
        <pc:sldMkLst>
          <pc:docMk/>
          <pc:sldMk cId="724025729" sldId="315"/>
        </pc:sldMkLst>
        <pc:spChg chg="mod">
          <ac:chgData name="Helena Laasjärvi" userId="147922e0-9e4e-413c-924b-93f8f61c2127" providerId="ADAL" clId="{03940DDB-A833-47EA-89FD-9DBCA51C24BF}" dt="2022-03-21T17:48:04.810" v="92" actId="207"/>
          <ac:spMkLst>
            <pc:docMk/>
            <pc:sldMk cId="724025729" sldId="315"/>
            <ac:spMk id="10" creationId="{0AA9639B-B7E2-44C5-9CA4-50187E024E5F}"/>
          </ac:spMkLst>
        </pc:spChg>
        <pc:graphicFrameChg chg="mod">
          <ac:chgData name="Helena Laasjärvi" userId="147922e0-9e4e-413c-924b-93f8f61c2127" providerId="ADAL" clId="{03940DDB-A833-47EA-89FD-9DBCA51C24BF}" dt="2022-03-21T17:47:44.110" v="88" actId="207"/>
          <ac:graphicFrameMkLst>
            <pc:docMk/>
            <pc:sldMk cId="724025729" sldId="315"/>
            <ac:graphicFrameMk id="8" creationId="{B936F7B1-E20A-3AF0-9D08-1FF576802789}"/>
          </ac:graphicFrameMkLst>
        </pc:graphicFrameChg>
        <pc:picChg chg="mod">
          <ac:chgData name="Helena Laasjärvi" userId="147922e0-9e4e-413c-924b-93f8f61c2127" providerId="ADAL" clId="{03940DDB-A833-47EA-89FD-9DBCA51C24BF}" dt="2022-03-21T17:46:32.730" v="2" actId="14100"/>
          <ac:picMkLst>
            <pc:docMk/>
            <pc:sldMk cId="724025729" sldId="315"/>
            <ac:picMk id="6" creationId="{9D1B725A-9F7F-4A5F-A8A5-52289C013BBA}"/>
          </ac:picMkLst>
        </pc:picChg>
      </pc:sldChg>
      <pc:sldChg chg="del">
        <pc:chgData name="Helena Laasjärvi" userId="147922e0-9e4e-413c-924b-93f8f61c2127" providerId="ADAL" clId="{03940DDB-A833-47EA-89FD-9DBCA51C24BF}" dt="2022-03-21T18:06:56.406" v="405" actId="47"/>
        <pc:sldMkLst>
          <pc:docMk/>
          <pc:sldMk cId="3149145955" sldId="316"/>
        </pc:sldMkLst>
      </pc:sldChg>
      <pc:sldChg chg="del">
        <pc:chgData name="Helena Laasjärvi" userId="147922e0-9e4e-413c-924b-93f8f61c2127" providerId="ADAL" clId="{03940DDB-A833-47EA-89FD-9DBCA51C24BF}" dt="2022-03-21T18:06:56.406" v="405" actId="47"/>
        <pc:sldMkLst>
          <pc:docMk/>
          <pc:sldMk cId="863750448" sldId="317"/>
        </pc:sldMkLst>
      </pc:sldChg>
      <pc:sldChg chg="modSp mod ord">
        <pc:chgData name="Helena Laasjärvi" userId="147922e0-9e4e-413c-924b-93f8f61c2127" providerId="ADAL" clId="{03940DDB-A833-47EA-89FD-9DBCA51C24BF}" dt="2022-03-21T18:04:04.094" v="397" actId="14100"/>
        <pc:sldMkLst>
          <pc:docMk/>
          <pc:sldMk cId="1594535289" sldId="319"/>
        </pc:sldMkLst>
        <pc:spChg chg="mod">
          <ac:chgData name="Helena Laasjärvi" userId="147922e0-9e4e-413c-924b-93f8f61c2127" providerId="ADAL" clId="{03940DDB-A833-47EA-89FD-9DBCA51C24BF}" dt="2022-03-21T18:03:33.185" v="394"/>
          <ac:spMkLst>
            <pc:docMk/>
            <pc:sldMk cId="1594535289" sldId="319"/>
            <ac:spMk id="10" creationId="{0AA9639B-B7E2-44C5-9CA4-50187E024E5F}"/>
          </ac:spMkLst>
        </pc:spChg>
        <pc:picChg chg="mod">
          <ac:chgData name="Helena Laasjärvi" userId="147922e0-9e4e-413c-924b-93f8f61c2127" providerId="ADAL" clId="{03940DDB-A833-47EA-89FD-9DBCA51C24BF}" dt="2022-03-21T18:04:04.094" v="397" actId="14100"/>
          <ac:picMkLst>
            <pc:docMk/>
            <pc:sldMk cId="1594535289" sldId="319"/>
            <ac:picMk id="6" creationId="{9D1B725A-9F7F-4A5F-A8A5-52289C013BBA}"/>
          </ac:picMkLst>
        </pc:picChg>
      </pc:sldChg>
      <pc:sldChg chg="del">
        <pc:chgData name="Helena Laasjärvi" userId="147922e0-9e4e-413c-924b-93f8f61c2127" providerId="ADAL" clId="{03940DDB-A833-47EA-89FD-9DBCA51C24BF}" dt="2022-03-21T18:06:56.406" v="405" actId="47"/>
        <pc:sldMkLst>
          <pc:docMk/>
          <pc:sldMk cId="2851854799" sldId="320"/>
        </pc:sldMkLst>
      </pc:sldChg>
      <pc:sldChg chg="del">
        <pc:chgData name="Helena Laasjärvi" userId="147922e0-9e4e-413c-924b-93f8f61c2127" providerId="ADAL" clId="{03940DDB-A833-47EA-89FD-9DBCA51C24BF}" dt="2022-03-21T18:06:56.406" v="405" actId="47"/>
        <pc:sldMkLst>
          <pc:docMk/>
          <pc:sldMk cId="31896352" sldId="321"/>
        </pc:sldMkLst>
      </pc:sldChg>
      <pc:sldChg chg="del">
        <pc:chgData name="Helena Laasjärvi" userId="147922e0-9e4e-413c-924b-93f8f61c2127" providerId="ADAL" clId="{03940DDB-A833-47EA-89FD-9DBCA51C24BF}" dt="2022-03-21T18:06:56.406" v="405" actId="47"/>
        <pc:sldMkLst>
          <pc:docMk/>
          <pc:sldMk cId="34063811" sldId="322"/>
        </pc:sldMkLst>
      </pc:sldChg>
      <pc:sldChg chg="addSp delSp modSp mod ord">
        <pc:chgData name="Helena Laasjärvi" userId="147922e0-9e4e-413c-924b-93f8f61c2127" providerId="ADAL" clId="{03940DDB-A833-47EA-89FD-9DBCA51C24BF}" dt="2022-03-21T17:53:07.205" v="251" actId="207"/>
        <pc:sldMkLst>
          <pc:docMk/>
          <pc:sldMk cId="2302383710" sldId="323"/>
        </pc:sldMkLst>
        <pc:spChg chg="mod">
          <ac:chgData name="Helena Laasjärvi" userId="147922e0-9e4e-413c-924b-93f8f61c2127" providerId="ADAL" clId="{03940DDB-A833-47EA-89FD-9DBCA51C24BF}" dt="2022-03-21T17:52:31.386" v="204" actId="948"/>
          <ac:spMkLst>
            <pc:docMk/>
            <pc:sldMk cId="2302383710" sldId="323"/>
            <ac:spMk id="2" creationId="{00000000-0000-0000-0000-000000000000}"/>
          </ac:spMkLst>
        </pc:spChg>
        <pc:spChg chg="add del mod modVis">
          <ac:chgData name="Helena Laasjärvi" userId="147922e0-9e4e-413c-924b-93f8f61c2127" providerId="ADAL" clId="{03940DDB-A833-47EA-89FD-9DBCA51C24BF}" dt="2022-03-21T17:52:31.449" v="243"/>
          <ac:spMkLst>
            <pc:docMk/>
            <pc:sldMk cId="2302383710" sldId="323"/>
            <ac:spMk id="11" creationId="{DC5FFBBB-93E3-4CB3-B90A-2F3DD5035572}"/>
          </ac:spMkLst>
        </pc:spChg>
        <pc:graphicFrameChg chg="mod">
          <ac:chgData name="Helena Laasjärvi" userId="147922e0-9e4e-413c-924b-93f8f61c2127" providerId="ADAL" clId="{03940DDB-A833-47EA-89FD-9DBCA51C24BF}" dt="2022-03-21T17:52:31.465" v="245"/>
          <ac:graphicFrameMkLst>
            <pc:docMk/>
            <pc:sldMk cId="2302383710" sldId="323"/>
            <ac:graphicFrameMk id="6" creationId="{E1BF22A5-5A57-4AF6-B247-2D8B493D9B63}"/>
          </ac:graphicFrameMkLst>
        </pc:graphicFrameChg>
        <pc:graphicFrameChg chg="mod">
          <ac:chgData name="Helena Laasjärvi" userId="147922e0-9e4e-413c-924b-93f8f61c2127" providerId="ADAL" clId="{03940DDB-A833-47EA-89FD-9DBCA51C24BF}" dt="2022-03-21T17:53:07.205" v="251" actId="207"/>
          <ac:graphicFrameMkLst>
            <pc:docMk/>
            <pc:sldMk cId="2302383710" sldId="323"/>
            <ac:graphicFrameMk id="8" creationId="{311B8604-8FEE-42BB-AF19-CDBE2DDB3F11}"/>
          </ac:graphicFrameMkLst>
        </pc:graphicFrameChg>
      </pc:sldChg>
      <pc:sldChg chg="del">
        <pc:chgData name="Helena Laasjärvi" userId="147922e0-9e4e-413c-924b-93f8f61c2127" providerId="ADAL" clId="{03940DDB-A833-47EA-89FD-9DBCA51C24BF}" dt="2022-03-21T18:06:56.406" v="405" actId="47"/>
        <pc:sldMkLst>
          <pc:docMk/>
          <pc:sldMk cId="742727706" sldId="324"/>
        </pc:sldMkLst>
      </pc:sldChg>
      <pc:sldChg chg="addSp delSp modSp add del mod ord">
        <pc:chgData name="Helena Laasjärvi" userId="147922e0-9e4e-413c-924b-93f8f61c2127" providerId="ADAL" clId="{03940DDB-A833-47EA-89FD-9DBCA51C24BF}" dt="2022-03-21T18:06:56.406" v="405" actId="47"/>
        <pc:sldMkLst>
          <pc:docMk/>
          <pc:sldMk cId="2673673509" sldId="325"/>
        </pc:sldMkLst>
        <pc:spChg chg="mod">
          <ac:chgData name="Helena Laasjärvi" userId="147922e0-9e4e-413c-924b-93f8f61c2127" providerId="ADAL" clId="{03940DDB-A833-47EA-89FD-9DBCA51C24BF}" dt="2022-03-21T17:53:27.236" v="255" actId="948"/>
          <ac:spMkLst>
            <pc:docMk/>
            <pc:sldMk cId="2673673509" sldId="325"/>
            <ac:spMk id="2" creationId="{00000000-0000-0000-0000-000000000000}"/>
          </ac:spMkLst>
        </pc:spChg>
        <pc:spChg chg="add del mod modVis">
          <ac:chgData name="Helena Laasjärvi" userId="147922e0-9e4e-413c-924b-93f8f61c2127" providerId="ADAL" clId="{03940DDB-A833-47EA-89FD-9DBCA51C24BF}" dt="2022-03-21T17:53:27.310" v="294"/>
          <ac:spMkLst>
            <pc:docMk/>
            <pc:sldMk cId="2673673509" sldId="325"/>
            <ac:spMk id="3" creationId="{7908B079-8B6C-4AB7-90DD-107F885F5D71}"/>
          </ac:spMkLst>
        </pc:spChg>
        <pc:grpChg chg="mod">
          <ac:chgData name="Helena Laasjärvi" userId="147922e0-9e4e-413c-924b-93f8f61c2127" providerId="ADAL" clId="{03940DDB-A833-47EA-89FD-9DBCA51C24BF}" dt="2022-03-21T17:53:22.495" v="253"/>
          <ac:grpSpMkLst>
            <pc:docMk/>
            <pc:sldMk cId="2673673509" sldId="325"/>
            <ac:grpSpMk id="1" creationId="{00000000-0000-0000-0000-000000000000}"/>
          </ac:grpSpMkLst>
        </pc:grpChg>
        <pc:graphicFrameChg chg="mod">
          <ac:chgData name="Helena Laasjärvi" userId="147922e0-9e4e-413c-924b-93f8f61c2127" providerId="ADAL" clId="{03940DDB-A833-47EA-89FD-9DBCA51C24BF}" dt="2022-03-21T17:53:27.326" v="296"/>
          <ac:graphicFrameMkLst>
            <pc:docMk/>
            <pc:sldMk cId="2673673509" sldId="325"/>
            <ac:graphicFrameMk id="6" creationId="{E1BF22A5-5A57-4AF6-B247-2D8B493D9B63}"/>
          </ac:graphicFrameMkLst>
        </pc:graphicFrameChg>
        <pc:graphicFrameChg chg="mod">
          <ac:chgData name="Helena Laasjärvi" userId="147922e0-9e4e-413c-924b-93f8f61c2127" providerId="ADAL" clId="{03940DDB-A833-47EA-89FD-9DBCA51C24BF}" dt="2022-03-21T17:53:22.495" v="253"/>
          <ac:graphicFrameMkLst>
            <pc:docMk/>
            <pc:sldMk cId="2673673509" sldId="325"/>
            <ac:graphicFrameMk id="8" creationId="{311B8604-8FEE-42BB-AF19-CDBE2DDB3F11}"/>
          </ac:graphicFrameMkLst>
        </pc:graphicFrameChg>
        <pc:picChg chg="mod">
          <ac:chgData name="Helena Laasjärvi" userId="147922e0-9e4e-413c-924b-93f8f61c2127" providerId="ADAL" clId="{03940DDB-A833-47EA-89FD-9DBCA51C24BF}" dt="2022-03-21T17:53:22.495" v="253"/>
          <ac:picMkLst>
            <pc:docMk/>
            <pc:sldMk cId="2673673509" sldId="325"/>
            <ac:picMk id="4" creationId="{CF47ABF3-D808-437C-99C9-B7CE14174BFD}"/>
          </ac:picMkLst>
        </pc:picChg>
      </pc:sldChg>
      <pc:sldChg chg="add del">
        <pc:chgData name="Helena Laasjärvi" userId="147922e0-9e4e-413c-924b-93f8f61c2127" providerId="ADAL" clId="{03940DDB-A833-47EA-89FD-9DBCA51C24BF}" dt="2022-03-21T18:06:56.406" v="405" actId="47"/>
        <pc:sldMkLst>
          <pc:docMk/>
          <pc:sldMk cId="450801208" sldId="326"/>
        </pc:sldMkLst>
      </pc:sldChg>
      <pc:sldChg chg="addSp delSp modSp add mod">
        <pc:chgData name="Helena Laasjärvi" userId="147922e0-9e4e-413c-924b-93f8f61c2127" providerId="ADAL" clId="{03940DDB-A833-47EA-89FD-9DBCA51C24BF}" dt="2022-03-21T18:00:09.330" v="359" actId="14100"/>
        <pc:sldMkLst>
          <pc:docMk/>
          <pc:sldMk cId="1955026970" sldId="327"/>
        </pc:sldMkLst>
        <pc:spChg chg="del">
          <ac:chgData name="Helena Laasjärvi" userId="147922e0-9e4e-413c-924b-93f8f61c2127" providerId="ADAL" clId="{03940DDB-A833-47EA-89FD-9DBCA51C24BF}" dt="2022-03-21T17:55:13.441" v="311" actId="478"/>
          <ac:spMkLst>
            <pc:docMk/>
            <pc:sldMk cId="1955026970" sldId="327"/>
            <ac:spMk id="10" creationId="{0AA9639B-B7E2-44C5-9CA4-50187E024E5F}"/>
          </ac:spMkLst>
        </pc:spChg>
        <pc:graphicFrameChg chg="mod">
          <ac:chgData name="Helena Laasjärvi" userId="147922e0-9e4e-413c-924b-93f8f61c2127" providerId="ADAL" clId="{03940DDB-A833-47EA-89FD-9DBCA51C24BF}" dt="2022-03-21T18:00:09.330" v="359" actId="14100"/>
          <ac:graphicFrameMkLst>
            <pc:docMk/>
            <pc:sldMk cId="1955026970" sldId="327"/>
            <ac:graphicFrameMk id="8" creationId="{B936F7B1-E20A-3AF0-9D08-1FF576802789}"/>
          </ac:graphicFrameMkLst>
        </pc:graphicFrameChg>
        <pc:picChg chg="add mod">
          <ac:chgData name="Helena Laasjärvi" userId="147922e0-9e4e-413c-924b-93f8f61c2127" providerId="ADAL" clId="{03940DDB-A833-47EA-89FD-9DBCA51C24BF}" dt="2022-03-21T18:00:03.619" v="353" actId="14100"/>
          <ac:picMkLst>
            <pc:docMk/>
            <pc:sldMk cId="1955026970" sldId="327"/>
            <ac:picMk id="2" creationId="{B7FD1809-B3FB-4955-90C4-A5D383030601}"/>
          </ac:picMkLst>
        </pc:picChg>
        <pc:picChg chg="mod">
          <ac:chgData name="Helena Laasjärvi" userId="147922e0-9e4e-413c-924b-93f8f61c2127" providerId="ADAL" clId="{03940DDB-A833-47EA-89FD-9DBCA51C24BF}" dt="2022-03-21T18:00:05.932" v="355" actId="14100"/>
          <ac:picMkLst>
            <pc:docMk/>
            <pc:sldMk cId="1955026970" sldId="327"/>
            <ac:picMk id="6" creationId="{9D1B725A-9F7F-4A5F-A8A5-52289C013BBA}"/>
          </ac:picMkLst>
        </pc:picChg>
      </pc:sldChg>
      <pc:sldChg chg="delSp modSp add mod">
        <pc:chgData name="Helena Laasjärvi" userId="147922e0-9e4e-413c-924b-93f8f61c2127" providerId="ADAL" clId="{03940DDB-A833-47EA-89FD-9DBCA51C24BF}" dt="2022-03-21T18:02:09.259" v="385" actId="1076"/>
        <pc:sldMkLst>
          <pc:docMk/>
          <pc:sldMk cId="647569095" sldId="328"/>
        </pc:sldMkLst>
        <pc:graphicFrameChg chg="mod">
          <ac:chgData name="Helena Laasjärvi" userId="147922e0-9e4e-413c-924b-93f8f61c2127" providerId="ADAL" clId="{03940DDB-A833-47EA-89FD-9DBCA51C24BF}" dt="2022-03-21T18:01:42.016" v="379" actId="20577"/>
          <ac:graphicFrameMkLst>
            <pc:docMk/>
            <pc:sldMk cId="647569095" sldId="328"/>
            <ac:graphicFrameMk id="8" creationId="{B936F7B1-E20A-3AF0-9D08-1FF576802789}"/>
          </ac:graphicFrameMkLst>
        </pc:graphicFrameChg>
        <pc:picChg chg="mod">
          <ac:chgData name="Helena Laasjärvi" userId="147922e0-9e4e-413c-924b-93f8f61c2127" providerId="ADAL" clId="{03940DDB-A833-47EA-89FD-9DBCA51C24BF}" dt="2022-03-21T18:02:09.259" v="385" actId="1076"/>
          <ac:picMkLst>
            <pc:docMk/>
            <pc:sldMk cId="647569095" sldId="328"/>
            <ac:picMk id="2" creationId="{B7FD1809-B3FB-4955-90C4-A5D383030601}"/>
          </ac:picMkLst>
        </pc:picChg>
        <pc:picChg chg="del">
          <ac:chgData name="Helena Laasjärvi" userId="147922e0-9e4e-413c-924b-93f8f61c2127" providerId="ADAL" clId="{03940DDB-A833-47EA-89FD-9DBCA51C24BF}" dt="2022-03-21T18:01:56.040" v="380" actId="478"/>
          <ac:picMkLst>
            <pc:docMk/>
            <pc:sldMk cId="647569095" sldId="328"/>
            <ac:picMk id="6" creationId="{9D1B725A-9F7F-4A5F-A8A5-52289C013BBA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vList2" loCatId="list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7BC353A9-2E9A-4B42-B9DF-3904A72B6A0E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proteiinit rakennetaan soluissa geenien ohjeiden mukaisesti</a:t>
          </a:r>
          <a:endParaRPr lang="en-US" dirty="0"/>
        </a:p>
      </dgm:t>
    </dgm:pt>
    <dgm:pt modelId="{C30C19A1-0B86-4B48-8CD1-BC251B538350}" type="parTrans" cxnId="{E893A836-17D9-42C9-9647-9C13C0169F53}">
      <dgm:prSet/>
      <dgm:spPr/>
      <dgm:t>
        <a:bodyPr/>
        <a:lstStyle/>
        <a:p>
          <a:endParaRPr lang="en-US"/>
        </a:p>
      </dgm:t>
    </dgm:pt>
    <dgm:pt modelId="{34A83047-F862-4DFB-A54B-26CD2997000F}" type="sibTrans" cxnId="{E893A836-17D9-42C9-9647-9C13C0169F53}">
      <dgm:prSet/>
      <dgm:spPr/>
      <dgm:t>
        <a:bodyPr/>
        <a:lstStyle/>
        <a:p>
          <a:endParaRPr lang="en-US"/>
        </a:p>
      </dgm:t>
    </dgm:pt>
    <dgm:pt modelId="{30143A9C-A93E-4A58-AFBC-90A739431092}">
      <dgm:prSet/>
      <dgm:spPr>
        <a:solidFill>
          <a:srgbClr val="F27CB1"/>
        </a:solidFill>
      </dgm:spPr>
      <dgm:t>
        <a:bodyPr/>
        <a:lstStyle/>
        <a:p>
          <a:r>
            <a:rPr lang="fi-FI" dirty="0"/>
            <a:t>jokaisella proteiinilla on omanlaisensa rakenne ja toiminta</a:t>
          </a:r>
          <a:endParaRPr lang="fi-FI" dirty="0">
            <a:cs typeface="Calibri"/>
          </a:endParaRPr>
        </a:p>
      </dgm:t>
    </dgm:pt>
    <dgm:pt modelId="{EFA95D88-DD01-4D03-B632-6CD75F8F5C2B}" type="parTrans" cxnId="{589DF472-AF1F-4017-90AF-A00803FF3A6E}">
      <dgm:prSet/>
      <dgm:spPr/>
      <dgm:t>
        <a:bodyPr/>
        <a:lstStyle/>
        <a:p>
          <a:endParaRPr lang="fi-FI"/>
        </a:p>
      </dgm:t>
    </dgm:pt>
    <dgm:pt modelId="{53F6BFF3-8C57-4675-B98B-28B258048986}" type="sibTrans" cxnId="{589DF472-AF1F-4017-90AF-A00803FF3A6E}">
      <dgm:prSet/>
      <dgm:spPr/>
      <dgm:t>
        <a:bodyPr/>
        <a:lstStyle/>
        <a:p>
          <a:endParaRPr lang="fi-FI"/>
        </a:p>
      </dgm:t>
    </dgm:pt>
    <dgm:pt modelId="{02F9CA18-296F-4E3A-A296-00B3BBB05F66}">
      <dgm:prSet/>
      <dgm:spPr>
        <a:solidFill>
          <a:srgbClr val="F9C3DB"/>
        </a:solidFill>
      </dgm:spPr>
      <dgm:t>
        <a:bodyPr/>
        <a:lstStyle/>
        <a:p>
          <a:r>
            <a:rPr lang="fi-FI" dirty="0"/>
            <a:t>proteiinit koostuvat aminohapoista, joita esiintyy eliöissä 20 erilaista</a:t>
          </a:r>
          <a:endParaRPr lang="fi-FI" dirty="0">
            <a:cs typeface="Calibri"/>
          </a:endParaRPr>
        </a:p>
      </dgm:t>
    </dgm:pt>
    <dgm:pt modelId="{587C98D4-3223-41B3-B230-CEFFBCE31618}" type="parTrans" cxnId="{F0DEB38E-A550-4217-88DE-EF52C50A8F2A}">
      <dgm:prSet/>
      <dgm:spPr/>
      <dgm:t>
        <a:bodyPr/>
        <a:lstStyle/>
        <a:p>
          <a:endParaRPr lang="fi-FI"/>
        </a:p>
      </dgm:t>
    </dgm:pt>
    <dgm:pt modelId="{DDAD9BA8-8EC6-47C9-A5DF-ACEA543D514D}" type="sibTrans" cxnId="{F0DEB38E-A550-4217-88DE-EF52C50A8F2A}">
      <dgm:prSet/>
      <dgm:spPr/>
      <dgm:t>
        <a:bodyPr/>
        <a:lstStyle/>
        <a:p>
          <a:endParaRPr lang="fi-FI"/>
        </a:p>
      </dgm:t>
    </dgm:pt>
    <dgm:pt modelId="{C98BB3D8-F1F9-4980-A813-50F0C2AEBD98}" type="pres">
      <dgm:prSet presAssocID="{005063B7-85D1-441D-87C6-864638207FCC}" presName="linear" presStyleCnt="0">
        <dgm:presLayoutVars>
          <dgm:animLvl val="lvl"/>
          <dgm:resizeHandles val="exact"/>
        </dgm:presLayoutVars>
      </dgm:prSet>
      <dgm:spPr/>
    </dgm:pt>
    <dgm:pt modelId="{A2041109-FF81-4945-89B7-A8A0C017B20F}" type="pres">
      <dgm:prSet presAssocID="{7BC353A9-2E9A-4B42-B9DF-3904A72B6A0E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ED6A19B6-0EBC-4392-AF6F-F3CAA63D99E9}" type="pres">
      <dgm:prSet presAssocID="{34A83047-F862-4DFB-A54B-26CD2997000F}" presName="spacer" presStyleCnt="0"/>
      <dgm:spPr/>
    </dgm:pt>
    <dgm:pt modelId="{FB21B429-3EDA-48B0-B368-0FEE346780F1}" type="pres">
      <dgm:prSet presAssocID="{30143A9C-A93E-4A58-AFBC-90A739431092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B38B2B1E-600F-4C55-BF59-220DA31C85D3}" type="pres">
      <dgm:prSet presAssocID="{53F6BFF3-8C57-4675-B98B-28B258048986}" presName="spacer" presStyleCnt="0"/>
      <dgm:spPr/>
    </dgm:pt>
    <dgm:pt modelId="{885386F3-C075-41A0-A364-8A99D5D6461C}" type="pres">
      <dgm:prSet presAssocID="{02F9CA18-296F-4E3A-A296-00B3BBB05F66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E893A836-17D9-42C9-9647-9C13C0169F53}" srcId="{005063B7-85D1-441D-87C6-864638207FCC}" destId="{7BC353A9-2E9A-4B42-B9DF-3904A72B6A0E}" srcOrd="0" destOrd="0" parTransId="{C30C19A1-0B86-4B48-8CD1-BC251B538350}" sibTransId="{34A83047-F862-4DFB-A54B-26CD2997000F}"/>
    <dgm:cxn modelId="{D8283537-EEBE-4B2F-9B78-308414C48AC8}" type="presOf" srcId="{30143A9C-A93E-4A58-AFBC-90A739431092}" destId="{FB21B429-3EDA-48B0-B368-0FEE346780F1}" srcOrd="0" destOrd="0" presId="urn:microsoft.com/office/officeart/2005/8/layout/vList2"/>
    <dgm:cxn modelId="{AD91423D-3DFC-49B4-8171-4F93D6623B2F}" type="presOf" srcId="{02F9CA18-296F-4E3A-A296-00B3BBB05F66}" destId="{885386F3-C075-41A0-A364-8A99D5D6461C}" srcOrd="0" destOrd="0" presId="urn:microsoft.com/office/officeart/2005/8/layout/vList2"/>
    <dgm:cxn modelId="{2190204B-2E81-4C25-B1E5-1613564821A5}" type="presOf" srcId="{005063B7-85D1-441D-87C6-864638207FCC}" destId="{C98BB3D8-F1F9-4980-A813-50F0C2AEBD98}" srcOrd="0" destOrd="0" presId="urn:microsoft.com/office/officeart/2005/8/layout/vList2"/>
    <dgm:cxn modelId="{589DF472-AF1F-4017-90AF-A00803FF3A6E}" srcId="{005063B7-85D1-441D-87C6-864638207FCC}" destId="{30143A9C-A93E-4A58-AFBC-90A739431092}" srcOrd="1" destOrd="0" parTransId="{EFA95D88-DD01-4D03-B632-6CD75F8F5C2B}" sibTransId="{53F6BFF3-8C57-4675-B98B-28B258048986}"/>
    <dgm:cxn modelId="{EBF53685-F8AF-407C-AE81-06CBD11601DB}" type="presOf" srcId="{7BC353A9-2E9A-4B42-B9DF-3904A72B6A0E}" destId="{A2041109-FF81-4945-89B7-A8A0C017B20F}" srcOrd="0" destOrd="0" presId="urn:microsoft.com/office/officeart/2005/8/layout/vList2"/>
    <dgm:cxn modelId="{F0DEB38E-A550-4217-88DE-EF52C50A8F2A}" srcId="{005063B7-85D1-441D-87C6-864638207FCC}" destId="{02F9CA18-296F-4E3A-A296-00B3BBB05F66}" srcOrd="2" destOrd="0" parTransId="{587C98D4-3223-41B3-B230-CEFFBCE31618}" sibTransId="{DDAD9BA8-8EC6-47C9-A5DF-ACEA543D514D}"/>
    <dgm:cxn modelId="{67A47AC9-1A43-4843-9DCD-06B8C85015CF}" type="presParOf" srcId="{C98BB3D8-F1F9-4980-A813-50F0C2AEBD98}" destId="{A2041109-FF81-4945-89B7-A8A0C017B20F}" srcOrd="0" destOrd="0" presId="urn:microsoft.com/office/officeart/2005/8/layout/vList2"/>
    <dgm:cxn modelId="{DC5ADAB3-BC4D-4BDE-AF12-E0A5549CC1DB}" type="presParOf" srcId="{C98BB3D8-F1F9-4980-A813-50F0C2AEBD98}" destId="{ED6A19B6-0EBC-4392-AF6F-F3CAA63D99E9}" srcOrd="1" destOrd="0" presId="urn:microsoft.com/office/officeart/2005/8/layout/vList2"/>
    <dgm:cxn modelId="{BBB263F7-866D-48A7-832A-5D78EA5E7D0F}" type="presParOf" srcId="{C98BB3D8-F1F9-4980-A813-50F0C2AEBD98}" destId="{FB21B429-3EDA-48B0-B368-0FEE346780F1}" srcOrd="2" destOrd="0" presId="urn:microsoft.com/office/officeart/2005/8/layout/vList2"/>
    <dgm:cxn modelId="{77829148-A14E-44FD-BFC8-76C16C146084}" type="presParOf" srcId="{C98BB3D8-F1F9-4980-A813-50F0C2AEBD98}" destId="{B38B2B1E-600F-4C55-BF59-220DA31C85D3}" srcOrd="3" destOrd="0" presId="urn:microsoft.com/office/officeart/2005/8/layout/vList2"/>
    <dgm:cxn modelId="{A18AA115-FC60-4CE0-9585-3BD0052B176D}" type="presParOf" srcId="{C98BB3D8-F1F9-4980-A813-50F0C2AEBD98}" destId="{885386F3-C075-41A0-A364-8A99D5D6461C}" srcOrd="4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DD9BEDF-B9E2-4ABA-A056-FFA32216D3C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i-FI"/>
        </a:p>
      </dgm:t>
    </dgm:pt>
    <dgm:pt modelId="{FDB40630-942D-4475-833B-DC48C1B2AEF9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Proteiinit rakentuvat aminohapoista, joiden muodostama ketju aikaansaa proteiinin primaarirakenteen</a:t>
          </a:r>
        </a:p>
      </dgm:t>
    </dgm:pt>
    <dgm:pt modelId="{EB145E02-B538-4AA7-871E-FA081BB24459}" type="parTrans" cxnId="{23C85598-1ECE-4744-A81F-1D8281EE6A25}">
      <dgm:prSet/>
      <dgm:spPr/>
      <dgm:t>
        <a:bodyPr/>
        <a:lstStyle/>
        <a:p>
          <a:endParaRPr lang="fi-FI"/>
        </a:p>
      </dgm:t>
    </dgm:pt>
    <dgm:pt modelId="{0E1C6016-7DEB-4E2F-9797-C18C672777F4}" type="sibTrans" cxnId="{23C85598-1ECE-4744-A81F-1D8281EE6A25}">
      <dgm:prSet/>
      <dgm:spPr/>
      <dgm:t>
        <a:bodyPr/>
        <a:lstStyle/>
        <a:p>
          <a:endParaRPr lang="fi-FI"/>
        </a:p>
      </dgm:t>
    </dgm:pt>
    <dgm:pt modelId="{70EEA87C-3A5F-4F6F-8271-07F53B43CBE7}">
      <dgm:prSet/>
      <dgm:spPr>
        <a:solidFill>
          <a:srgbClr val="F27CB1"/>
        </a:solidFill>
      </dgm:spPr>
      <dgm:t>
        <a:bodyPr/>
        <a:lstStyle/>
        <a:p>
          <a:r>
            <a:rPr lang="fi-FI" dirty="0"/>
            <a:t>Aminohappoketjun kiertymistä ja laskostumista kutsutaan proteiinin sekundaarirakenteeksi</a:t>
          </a:r>
          <a:endParaRPr lang="fi-FI" dirty="0">
            <a:cs typeface="Calibri"/>
          </a:endParaRPr>
        </a:p>
      </dgm:t>
    </dgm:pt>
    <dgm:pt modelId="{E8B16D67-EA44-4FDF-BAAE-810508DE9F96}" type="parTrans" cxnId="{D02A2098-9524-4CC2-B900-DB0640FE2AD5}">
      <dgm:prSet/>
      <dgm:spPr/>
      <dgm:t>
        <a:bodyPr/>
        <a:lstStyle/>
        <a:p>
          <a:endParaRPr lang="fi-FI"/>
        </a:p>
      </dgm:t>
    </dgm:pt>
    <dgm:pt modelId="{41115C90-7609-40B1-955A-18D3F8EDFBA0}" type="sibTrans" cxnId="{D02A2098-9524-4CC2-B900-DB0640FE2AD5}">
      <dgm:prSet/>
      <dgm:spPr/>
      <dgm:t>
        <a:bodyPr/>
        <a:lstStyle/>
        <a:p>
          <a:endParaRPr lang="fi-FI"/>
        </a:p>
      </dgm:t>
    </dgm:pt>
    <dgm:pt modelId="{0F403E0B-363D-4F0E-AEDA-00DCDD52DEA7}">
      <dgm:prSet/>
      <dgm:spPr>
        <a:solidFill>
          <a:srgbClr val="F599C3"/>
        </a:solidFill>
      </dgm:spPr>
      <dgm:t>
        <a:bodyPr/>
        <a:lstStyle/>
        <a:p>
          <a:r>
            <a:rPr lang="fi-FI" dirty="0"/>
            <a:t>Proteiinin kolmiulotteista rakennetta kutsutaan </a:t>
          </a:r>
          <a:r>
            <a:rPr lang="fi-FI" dirty="0" err="1"/>
            <a:t>tertiaarirakenteeksi</a:t>
          </a:r>
          <a:endParaRPr lang="fi-FI" dirty="0">
            <a:cs typeface="Calibri"/>
          </a:endParaRPr>
        </a:p>
      </dgm:t>
    </dgm:pt>
    <dgm:pt modelId="{C84967E1-D49F-41C9-8B5C-D781236AA799}" type="parTrans" cxnId="{C80CC893-BD73-4758-B94D-E3B544B31B63}">
      <dgm:prSet/>
      <dgm:spPr/>
      <dgm:t>
        <a:bodyPr/>
        <a:lstStyle/>
        <a:p>
          <a:endParaRPr lang="fi-FI"/>
        </a:p>
      </dgm:t>
    </dgm:pt>
    <dgm:pt modelId="{012731AF-0BC3-4CD7-BB24-95AD7CBD13FE}" type="sibTrans" cxnId="{C80CC893-BD73-4758-B94D-E3B544B31B63}">
      <dgm:prSet/>
      <dgm:spPr/>
      <dgm:t>
        <a:bodyPr/>
        <a:lstStyle/>
        <a:p>
          <a:endParaRPr lang="fi-FI"/>
        </a:p>
      </dgm:t>
    </dgm:pt>
    <dgm:pt modelId="{006BF539-B18B-4672-913C-30628D44579F}">
      <dgm:prSet/>
      <dgm:spPr>
        <a:solidFill>
          <a:srgbClr val="F9C3DB"/>
        </a:solidFill>
      </dgm:spPr>
      <dgm:t>
        <a:bodyPr/>
        <a:lstStyle/>
        <a:p>
          <a:r>
            <a:rPr lang="fi-FI" dirty="0"/>
            <a:t>Kahden tai useamman </a:t>
          </a:r>
          <a:r>
            <a:rPr lang="fi-FI" dirty="0" err="1"/>
            <a:t>tertiaarirakenteisen</a:t>
          </a:r>
          <a:r>
            <a:rPr lang="fi-FI" dirty="0"/>
            <a:t> aminohappoketjun liittyessä yhteen muodostuu </a:t>
          </a:r>
          <a:r>
            <a:rPr lang="fi-FI" dirty="0" err="1"/>
            <a:t>kvartaarirakenne</a:t>
          </a:r>
          <a:endParaRPr lang="fi-FI" dirty="0">
            <a:cs typeface="Calibri"/>
          </a:endParaRPr>
        </a:p>
      </dgm:t>
    </dgm:pt>
    <dgm:pt modelId="{D2EAE1EC-B44A-4A77-AB3A-948555ACA079}" type="parTrans" cxnId="{A767A446-BC7C-42C0-8657-85F04DFBA030}">
      <dgm:prSet/>
      <dgm:spPr/>
      <dgm:t>
        <a:bodyPr/>
        <a:lstStyle/>
        <a:p>
          <a:endParaRPr lang="fi-FI"/>
        </a:p>
      </dgm:t>
    </dgm:pt>
    <dgm:pt modelId="{C314D4F0-DE89-44FE-B196-571916A4B61B}" type="sibTrans" cxnId="{A767A446-BC7C-42C0-8657-85F04DFBA030}">
      <dgm:prSet/>
      <dgm:spPr/>
      <dgm:t>
        <a:bodyPr/>
        <a:lstStyle/>
        <a:p>
          <a:endParaRPr lang="fi-FI"/>
        </a:p>
      </dgm:t>
    </dgm:pt>
    <dgm:pt modelId="{2A2F781F-16C1-4D29-B08D-ACB557B90863}" type="pres">
      <dgm:prSet presAssocID="{2DD9BEDF-B9E2-4ABA-A056-FFA32216D3C8}" presName="linear" presStyleCnt="0">
        <dgm:presLayoutVars>
          <dgm:animLvl val="lvl"/>
          <dgm:resizeHandles val="exact"/>
        </dgm:presLayoutVars>
      </dgm:prSet>
      <dgm:spPr/>
    </dgm:pt>
    <dgm:pt modelId="{A033DC3D-C63F-43D1-8859-07FC97577F71}" type="pres">
      <dgm:prSet presAssocID="{FDB40630-942D-4475-833B-DC48C1B2AEF9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786D5744-4016-4336-AC72-5D6D8FE2A223}" type="pres">
      <dgm:prSet presAssocID="{0E1C6016-7DEB-4E2F-9797-C18C672777F4}" presName="spacer" presStyleCnt="0"/>
      <dgm:spPr/>
    </dgm:pt>
    <dgm:pt modelId="{528E58FA-D514-4974-95F1-C3A81A6CC8AA}" type="pres">
      <dgm:prSet presAssocID="{70EEA87C-3A5F-4F6F-8271-07F53B43CBE7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9EECDDC0-ACFC-44B1-AFA9-F64986581C50}" type="pres">
      <dgm:prSet presAssocID="{41115C90-7609-40B1-955A-18D3F8EDFBA0}" presName="spacer" presStyleCnt="0"/>
      <dgm:spPr/>
    </dgm:pt>
    <dgm:pt modelId="{424E4846-D5F1-43E2-A1A2-0D91359A85CD}" type="pres">
      <dgm:prSet presAssocID="{0F403E0B-363D-4F0E-AEDA-00DCDD52DEA7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932D59AF-5B67-49EF-82D5-F050D3BC03F7}" type="pres">
      <dgm:prSet presAssocID="{012731AF-0BC3-4CD7-BB24-95AD7CBD13FE}" presName="spacer" presStyleCnt="0"/>
      <dgm:spPr/>
    </dgm:pt>
    <dgm:pt modelId="{670C3138-35C4-4325-817E-26AD5BE05F94}" type="pres">
      <dgm:prSet presAssocID="{006BF539-B18B-4672-913C-30628D44579F}" presName="parentText" presStyleLbl="node1" presStyleIdx="3" presStyleCnt="4">
        <dgm:presLayoutVars>
          <dgm:chMax val="0"/>
          <dgm:bulletEnabled val="1"/>
        </dgm:presLayoutVars>
      </dgm:prSet>
      <dgm:spPr/>
    </dgm:pt>
  </dgm:ptLst>
  <dgm:cxnLst>
    <dgm:cxn modelId="{A767A446-BC7C-42C0-8657-85F04DFBA030}" srcId="{2DD9BEDF-B9E2-4ABA-A056-FFA32216D3C8}" destId="{006BF539-B18B-4672-913C-30628D44579F}" srcOrd="3" destOrd="0" parTransId="{D2EAE1EC-B44A-4A77-AB3A-948555ACA079}" sibTransId="{C314D4F0-DE89-44FE-B196-571916A4B61B}"/>
    <dgm:cxn modelId="{AFF19272-9673-4B01-A58E-80B89B60D889}" type="presOf" srcId="{0F403E0B-363D-4F0E-AEDA-00DCDD52DEA7}" destId="{424E4846-D5F1-43E2-A1A2-0D91359A85CD}" srcOrd="0" destOrd="0" presId="urn:microsoft.com/office/officeart/2005/8/layout/vList2"/>
    <dgm:cxn modelId="{C80CC893-BD73-4758-B94D-E3B544B31B63}" srcId="{2DD9BEDF-B9E2-4ABA-A056-FFA32216D3C8}" destId="{0F403E0B-363D-4F0E-AEDA-00DCDD52DEA7}" srcOrd="2" destOrd="0" parTransId="{C84967E1-D49F-41C9-8B5C-D781236AA799}" sibTransId="{012731AF-0BC3-4CD7-BB24-95AD7CBD13FE}"/>
    <dgm:cxn modelId="{D02A2098-9524-4CC2-B900-DB0640FE2AD5}" srcId="{2DD9BEDF-B9E2-4ABA-A056-FFA32216D3C8}" destId="{70EEA87C-3A5F-4F6F-8271-07F53B43CBE7}" srcOrd="1" destOrd="0" parTransId="{E8B16D67-EA44-4FDF-BAAE-810508DE9F96}" sibTransId="{41115C90-7609-40B1-955A-18D3F8EDFBA0}"/>
    <dgm:cxn modelId="{23C85598-1ECE-4744-A81F-1D8281EE6A25}" srcId="{2DD9BEDF-B9E2-4ABA-A056-FFA32216D3C8}" destId="{FDB40630-942D-4475-833B-DC48C1B2AEF9}" srcOrd="0" destOrd="0" parTransId="{EB145E02-B538-4AA7-871E-FA081BB24459}" sibTransId="{0E1C6016-7DEB-4E2F-9797-C18C672777F4}"/>
    <dgm:cxn modelId="{0B96E8A4-ABD7-4CA2-9604-5B31470831CF}" type="presOf" srcId="{70EEA87C-3A5F-4F6F-8271-07F53B43CBE7}" destId="{528E58FA-D514-4974-95F1-C3A81A6CC8AA}" srcOrd="0" destOrd="0" presId="urn:microsoft.com/office/officeart/2005/8/layout/vList2"/>
    <dgm:cxn modelId="{B93EFCA9-9C52-4512-A86A-60FED176183B}" type="presOf" srcId="{006BF539-B18B-4672-913C-30628D44579F}" destId="{670C3138-35C4-4325-817E-26AD5BE05F94}" srcOrd="0" destOrd="0" presId="urn:microsoft.com/office/officeart/2005/8/layout/vList2"/>
    <dgm:cxn modelId="{90BED6AB-2622-4A47-8DD0-AEDA6876D029}" type="presOf" srcId="{FDB40630-942D-4475-833B-DC48C1B2AEF9}" destId="{A033DC3D-C63F-43D1-8859-07FC97577F71}" srcOrd="0" destOrd="0" presId="urn:microsoft.com/office/officeart/2005/8/layout/vList2"/>
    <dgm:cxn modelId="{80B36DC0-A1CA-42E5-B78A-79BFF3C79841}" type="presOf" srcId="{2DD9BEDF-B9E2-4ABA-A056-FFA32216D3C8}" destId="{2A2F781F-16C1-4D29-B08D-ACB557B90863}" srcOrd="0" destOrd="0" presId="urn:microsoft.com/office/officeart/2005/8/layout/vList2"/>
    <dgm:cxn modelId="{D71AE3A6-9161-4990-8BB5-0D4ADB2D81C5}" type="presParOf" srcId="{2A2F781F-16C1-4D29-B08D-ACB557B90863}" destId="{A033DC3D-C63F-43D1-8859-07FC97577F71}" srcOrd="0" destOrd="0" presId="urn:microsoft.com/office/officeart/2005/8/layout/vList2"/>
    <dgm:cxn modelId="{46B33FCB-185D-48A5-824F-644AE3B2D45D}" type="presParOf" srcId="{2A2F781F-16C1-4D29-B08D-ACB557B90863}" destId="{786D5744-4016-4336-AC72-5D6D8FE2A223}" srcOrd="1" destOrd="0" presId="urn:microsoft.com/office/officeart/2005/8/layout/vList2"/>
    <dgm:cxn modelId="{CC3D9EA9-228B-4C19-A79A-0B22772DAFBF}" type="presParOf" srcId="{2A2F781F-16C1-4D29-B08D-ACB557B90863}" destId="{528E58FA-D514-4974-95F1-C3A81A6CC8AA}" srcOrd="2" destOrd="0" presId="urn:microsoft.com/office/officeart/2005/8/layout/vList2"/>
    <dgm:cxn modelId="{8AC412D6-AD39-4842-8077-1A61BD524E8D}" type="presParOf" srcId="{2A2F781F-16C1-4D29-B08D-ACB557B90863}" destId="{9EECDDC0-ACFC-44B1-AFA9-F64986581C50}" srcOrd="3" destOrd="0" presId="urn:microsoft.com/office/officeart/2005/8/layout/vList2"/>
    <dgm:cxn modelId="{15477107-7060-4BAD-93F6-87CFC332EF52}" type="presParOf" srcId="{2A2F781F-16C1-4D29-B08D-ACB557B90863}" destId="{424E4846-D5F1-43E2-A1A2-0D91359A85CD}" srcOrd="4" destOrd="0" presId="urn:microsoft.com/office/officeart/2005/8/layout/vList2"/>
    <dgm:cxn modelId="{34D61EBC-866F-4CDE-9B95-8AB10D09A425}" type="presParOf" srcId="{2A2F781F-16C1-4D29-B08D-ACB557B90863}" destId="{932D59AF-5B67-49EF-82D5-F050D3BC03F7}" srcOrd="5" destOrd="0" presId="urn:microsoft.com/office/officeart/2005/8/layout/vList2"/>
    <dgm:cxn modelId="{D22F0AAB-6206-44A2-B31F-40E160A41521}" type="presParOf" srcId="{2A2F781F-16C1-4D29-B08D-ACB557B90863}" destId="{670C3138-35C4-4325-817E-26AD5BE05F94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vList2" loCatId="list" qsTypeId="urn:microsoft.com/office/officeart/2005/8/quickstyle/simple4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7BC353A9-2E9A-4B42-B9DF-3904A72B6A0E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Kolmiulotteisen rakenteen tuhoutumista kutsutaan denaturoitumiseksi.</a:t>
          </a:r>
          <a:br>
            <a:rPr lang="fi-FI" dirty="0"/>
          </a:br>
          <a:r>
            <a:rPr lang="fi-FI" dirty="0"/>
            <a:t>Silloin proteiini menettää toimintakykynsä.</a:t>
          </a:r>
          <a:endParaRPr lang="en-US" dirty="0"/>
        </a:p>
      </dgm:t>
    </dgm:pt>
    <dgm:pt modelId="{C30C19A1-0B86-4B48-8CD1-BC251B538350}" type="parTrans" cxnId="{E893A836-17D9-42C9-9647-9C13C0169F53}">
      <dgm:prSet/>
      <dgm:spPr/>
      <dgm:t>
        <a:bodyPr/>
        <a:lstStyle/>
        <a:p>
          <a:endParaRPr lang="en-US"/>
        </a:p>
      </dgm:t>
    </dgm:pt>
    <dgm:pt modelId="{34A83047-F862-4DFB-A54B-26CD2997000F}" type="sibTrans" cxnId="{E893A836-17D9-42C9-9647-9C13C0169F53}">
      <dgm:prSet/>
      <dgm:spPr/>
      <dgm:t>
        <a:bodyPr/>
        <a:lstStyle/>
        <a:p>
          <a:endParaRPr lang="en-US"/>
        </a:p>
      </dgm:t>
    </dgm:pt>
    <dgm:pt modelId="{8F5B064C-FAE0-4576-818D-72F8F5F5C36F}" type="pres">
      <dgm:prSet presAssocID="{005063B7-85D1-441D-87C6-864638207FCC}" presName="linear" presStyleCnt="0">
        <dgm:presLayoutVars>
          <dgm:animLvl val="lvl"/>
          <dgm:resizeHandles val="exact"/>
        </dgm:presLayoutVars>
      </dgm:prSet>
      <dgm:spPr/>
    </dgm:pt>
    <dgm:pt modelId="{EA20ABC6-64BD-4CB6-9346-0B23CADA9C8B}" type="pres">
      <dgm:prSet presAssocID="{7BC353A9-2E9A-4B42-B9DF-3904A72B6A0E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E893A836-17D9-42C9-9647-9C13C0169F53}" srcId="{005063B7-85D1-441D-87C6-864638207FCC}" destId="{7BC353A9-2E9A-4B42-B9DF-3904A72B6A0E}" srcOrd="0" destOrd="0" parTransId="{C30C19A1-0B86-4B48-8CD1-BC251B538350}" sibTransId="{34A83047-F862-4DFB-A54B-26CD2997000F}"/>
    <dgm:cxn modelId="{6CB27450-E055-42C2-A8A6-8D1FFFCD11DF}" type="presOf" srcId="{005063B7-85D1-441D-87C6-864638207FCC}" destId="{8F5B064C-FAE0-4576-818D-72F8F5F5C36F}" srcOrd="0" destOrd="0" presId="urn:microsoft.com/office/officeart/2005/8/layout/vList2"/>
    <dgm:cxn modelId="{152CD4F7-D644-4FDC-95B5-6222692810CF}" type="presOf" srcId="{7BC353A9-2E9A-4B42-B9DF-3904A72B6A0E}" destId="{EA20ABC6-64BD-4CB6-9346-0B23CADA9C8B}" srcOrd="0" destOrd="0" presId="urn:microsoft.com/office/officeart/2005/8/layout/vList2"/>
    <dgm:cxn modelId="{4E22B6DF-CD51-425D-A6D1-BBF337B5CEDC}" type="presParOf" srcId="{8F5B064C-FAE0-4576-818D-72F8F5F5C36F}" destId="{EA20ABC6-64BD-4CB6-9346-0B23CADA9C8B}" srcOrd="0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DD9BEDF-B9E2-4ABA-A056-FFA32216D3C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i-FI"/>
        </a:p>
      </dgm:t>
    </dgm:pt>
    <dgm:pt modelId="{FDB40630-942D-4475-833B-DC48C1B2AEF9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Solun aineenvaihduntareaktiot jaetaan</a:t>
          </a:r>
        </a:p>
      </dgm:t>
    </dgm:pt>
    <dgm:pt modelId="{EB145E02-B538-4AA7-871E-FA081BB24459}" type="parTrans" cxnId="{23C85598-1ECE-4744-A81F-1D8281EE6A25}">
      <dgm:prSet/>
      <dgm:spPr/>
      <dgm:t>
        <a:bodyPr/>
        <a:lstStyle/>
        <a:p>
          <a:endParaRPr lang="fi-FI"/>
        </a:p>
      </dgm:t>
    </dgm:pt>
    <dgm:pt modelId="{0E1C6016-7DEB-4E2F-9797-C18C672777F4}" type="sibTrans" cxnId="{23C85598-1ECE-4744-A81F-1D8281EE6A25}">
      <dgm:prSet/>
      <dgm:spPr/>
      <dgm:t>
        <a:bodyPr/>
        <a:lstStyle/>
        <a:p>
          <a:endParaRPr lang="fi-FI"/>
        </a:p>
      </dgm:t>
    </dgm:pt>
    <dgm:pt modelId="{E3A88706-D89E-4635-99F4-D8D28A220DED}">
      <dgm:prSet/>
      <dgm:spPr>
        <a:solidFill>
          <a:srgbClr val="F599C3"/>
        </a:solidFill>
      </dgm:spPr>
      <dgm:t>
        <a:bodyPr/>
        <a:lstStyle/>
        <a:p>
          <a:r>
            <a:rPr lang="fi-FI" dirty="0"/>
            <a:t>Entsyymit eivät itse kulu tai muutu reaktioissa</a:t>
          </a:r>
        </a:p>
      </dgm:t>
    </dgm:pt>
    <dgm:pt modelId="{4AC40A38-4AFB-4215-9418-C837EF8A3185}" type="parTrans" cxnId="{C4F91F34-73AD-4676-8EC1-6E3E724FBC38}">
      <dgm:prSet/>
      <dgm:spPr/>
      <dgm:t>
        <a:bodyPr/>
        <a:lstStyle/>
        <a:p>
          <a:endParaRPr lang="fi-FI"/>
        </a:p>
      </dgm:t>
    </dgm:pt>
    <dgm:pt modelId="{98C36BAB-F5F5-47E8-90F4-EEC59352ABFB}" type="sibTrans" cxnId="{C4F91F34-73AD-4676-8EC1-6E3E724FBC38}">
      <dgm:prSet/>
      <dgm:spPr/>
      <dgm:t>
        <a:bodyPr/>
        <a:lstStyle/>
        <a:p>
          <a:endParaRPr lang="fi-FI"/>
        </a:p>
      </dgm:t>
    </dgm:pt>
    <dgm:pt modelId="{FA9C16DB-41FC-46CC-B2C1-2E8D9E1BF776}">
      <dgm:prSet/>
      <dgm:spPr/>
      <dgm:t>
        <a:bodyPr/>
        <a:lstStyle/>
        <a:p>
          <a:r>
            <a:rPr lang="fi-FI"/>
            <a:t>Anabolisiin eli rakentaviin reaktioihin</a:t>
          </a:r>
          <a:endParaRPr lang="fi-FI" dirty="0">
            <a:cs typeface="Calibri"/>
          </a:endParaRPr>
        </a:p>
      </dgm:t>
    </dgm:pt>
    <dgm:pt modelId="{234A2E59-2484-4042-B0BD-04F8B22FE539}" type="parTrans" cxnId="{04AEA865-7EFA-4708-B483-18C21DE50062}">
      <dgm:prSet/>
      <dgm:spPr/>
      <dgm:t>
        <a:bodyPr/>
        <a:lstStyle/>
        <a:p>
          <a:endParaRPr lang="fi-FI"/>
        </a:p>
      </dgm:t>
    </dgm:pt>
    <dgm:pt modelId="{0E385566-7C88-4CEC-BD4C-4CDC8854C178}" type="sibTrans" cxnId="{04AEA865-7EFA-4708-B483-18C21DE50062}">
      <dgm:prSet/>
      <dgm:spPr/>
      <dgm:t>
        <a:bodyPr/>
        <a:lstStyle/>
        <a:p>
          <a:endParaRPr lang="fi-FI"/>
        </a:p>
      </dgm:t>
    </dgm:pt>
    <dgm:pt modelId="{B937A78B-5A31-4E11-A370-D14A859726C9}">
      <dgm:prSet/>
      <dgm:spPr/>
      <dgm:t>
        <a:bodyPr/>
        <a:lstStyle/>
        <a:p>
          <a:r>
            <a:rPr lang="fi-FI"/>
            <a:t>Katabolisiin eli hajottaviin reaktioihin</a:t>
          </a:r>
          <a:endParaRPr lang="fi-FI" dirty="0">
            <a:cs typeface="Calibri" panose="020F0502020204030204"/>
          </a:endParaRPr>
        </a:p>
      </dgm:t>
    </dgm:pt>
    <dgm:pt modelId="{813CC911-B253-4E8A-9163-AFBAB0DD25C6}" type="parTrans" cxnId="{BEAA1DEB-DDBE-4704-AEF4-EFCDF4260AC0}">
      <dgm:prSet/>
      <dgm:spPr/>
      <dgm:t>
        <a:bodyPr/>
        <a:lstStyle/>
        <a:p>
          <a:endParaRPr lang="fi-FI"/>
        </a:p>
      </dgm:t>
    </dgm:pt>
    <dgm:pt modelId="{0B4CCA1D-A940-44B9-8A4A-8BF73D5B2F3B}" type="sibTrans" cxnId="{BEAA1DEB-DDBE-4704-AEF4-EFCDF4260AC0}">
      <dgm:prSet/>
      <dgm:spPr/>
      <dgm:t>
        <a:bodyPr/>
        <a:lstStyle/>
        <a:p>
          <a:endParaRPr lang="fi-FI"/>
        </a:p>
      </dgm:t>
    </dgm:pt>
    <dgm:pt modelId="{2D7BB16C-BC6D-4286-B99C-3F0C123F58B4}">
      <dgm:prSet/>
      <dgm:spPr>
        <a:solidFill>
          <a:srgbClr val="F9C3DB"/>
        </a:solidFill>
      </dgm:spPr>
      <dgm:t>
        <a:bodyPr/>
        <a:lstStyle/>
        <a:p>
          <a:r>
            <a:rPr lang="fi-FI"/>
            <a:t>Solujen toiminta ilman entsyymejä olisi mahdotonta</a:t>
          </a:r>
          <a:endParaRPr lang="fi-FI" dirty="0"/>
        </a:p>
      </dgm:t>
    </dgm:pt>
    <dgm:pt modelId="{EDA8326A-F039-4D7F-A8CB-7BF0C2CAD1DC}" type="parTrans" cxnId="{3ACB5A3F-8626-4350-8EDD-7C7350D36C2F}">
      <dgm:prSet/>
      <dgm:spPr/>
      <dgm:t>
        <a:bodyPr/>
        <a:lstStyle/>
        <a:p>
          <a:endParaRPr lang="fi-FI"/>
        </a:p>
      </dgm:t>
    </dgm:pt>
    <dgm:pt modelId="{DA17D279-4913-4357-95C4-88026B53977E}" type="sibTrans" cxnId="{3ACB5A3F-8626-4350-8EDD-7C7350D36C2F}">
      <dgm:prSet/>
      <dgm:spPr/>
      <dgm:t>
        <a:bodyPr/>
        <a:lstStyle/>
        <a:p>
          <a:endParaRPr lang="fi-FI"/>
        </a:p>
      </dgm:t>
    </dgm:pt>
    <dgm:pt modelId="{2A2F781F-16C1-4D29-B08D-ACB557B90863}" type="pres">
      <dgm:prSet presAssocID="{2DD9BEDF-B9E2-4ABA-A056-FFA32216D3C8}" presName="linear" presStyleCnt="0">
        <dgm:presLayoutVars>
          <dgm:animLvl val="lvl"/>
          <dgm:resizeHandles val="exact"/>
        </dgm:presLayoutVars>
      </dgm:prSet>
      <dgm:spPr/>
    </dgm:pt>
    <dgm:pt modelId="{A033DC3D-C63F-43D1-8859-07FC97577F71}" type="pres">
      <dgm:prSet presAssocID="{FDB40630-942D-4475-833B-DC48C1B2AEF9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43B1C186-6125-456D-BA9F-8A974051ED2E}" type="pres">
      <dgm:prSet presAssocID="{FDB40630-942D-4475-833B-DC48C1B2AEF9}" presName="childText" presStyleLbl="revTx" presStyleIdx="0" presStyleCnt="1">
        <dgm:presLayoutVars>
          <dgm:bulletEnabled val="1"/>
        </dgm:presLayoutVars>
      </dgm:prSet>
      <dgm:spPr/>
    </dgm:pt>
    <dgm:pt modelId="{D5E05736-E9B4-4790-9BF3-E3D5EE35FD82}" type="pres">
      <dgm:prSet presAssocID="{E3A88706-D89E-4635-99F4-D8D28A220DED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E301BC63-5CCB-4C61-A565-30FA6666025F}" type="pres">
      <dgm:prSet presAssocID="{98C36BAB-F5F5-47E8-90F4-EEC59352ABFB}" presName="spacer" presStyleCnt="0"/>
      <dgm:spPr/>
    </dgm:pt>
    <dgm:pt modelId="{C3501B98-0BEF-4F4A-80D2-4E00AEFDFBA4}" type="pres">
      <dgm:prSet presAssocID="{2D7BB16C-BC6D-4286-B99C-3F0C123F58B4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AE80D529-AB89-4274-A882-558895B9F238}" type="presOf" srcId="{B937A78B-5A31-4E11-A370-D14A859726C9}" destId="{43B1C186-6125-456D-BA9F-8A974051ED2E}" srcOrd="0" destOrd="1" presId="urn:microsoft.com/office/officeart/2005/8/layout/vList2"/>
    <dgm:cxn modelId="{C4F91F34-73AD-4676-8EC1-6E3E724FBC38}" srcId="{2DD9BEDF-B9E2-4ABA-A056-FFA32216D3C8}" destId="{E3A88706-D89E-4635-99F4-D8D28A220DED}" srcOrd="1" destOrd="0" parTransId="{4AC40A38-4AFB-4215-9418-C837EF8A3185}" sibTransId="{98C36BAB-F5F5-47E8-90F4-EEC59352ABFB}"/>
    <dgm:cxn modelId="{3ACB5A3F-8626-4350-8EDD-7C7350D36C2F}" srcId="{2DD9BEDF-B9E2-4ABA-A056-FFA32216D3C8}" destId="{2D7BB16C-BC6D-4286-B99C-3F0C123F58B4}" srcOrd="2" destOrd="0" parTransId="{EDA8326A-F039-4D7F-A8CB-7BF0C2CAD1DC}" sibTransId="{DA17D279-4913-4357-95C4-88026B53977E}"/>
    <dgm:cxn modelId="{04AEA865-7EFA-4708-B483-18C21DE50062}" srcId="{FDB40630-942D-4475-833B-DC48C1B2AEF9}" destId="{FA9C16DB-41FC-46CC-B2C1-2E8D9E1BF776}" srcOrd="0" destOrd="0" parTransId="{234A2E59-2484-4042-B0BD-04F8B22FE539}" sibTransId="{0E385566-7C88-4CEC-BD4C-4CDC8854C178}"/>
    <dgm:cxn modelId="{3800E289-B691-409F-B454-A68E0DAE34F0}" type="presOf" srcId="{FA9C16DB-41FC-46CC-B2C1-2E8D9E1BF776}" destId="{43B1C186-6125-456D-BA9F-8A974051ED2E}" srcOrd="0" destOrd="0" presId="urn:microsoft.com/office/officeart/2005/8/layout/vList2"/>
    <dgm:cxn modelId="{23C85598-1ECE-4744-A81F-1D8281EE6A25}" srcId="{2DD9BEDF-B9E2-4ABA-A056-FFA32216D3C8}" destId="{FDB40630-942D-4475-833B-DC48C1B2AEF9}" srcOrd="0" destOrd="0" parTransId="{EB145E02-B538-4AA7-871E-FA081BB24459}" sibTransId="{0E1C6016-7DEB-4E2F-9797-C18C672777F4}"/>
    <dgm:cxn modelId="{90BED6AB-2622-4A47-8DD0-AEDA6876D029}" type="presOf" srcId="{FDB40630-942D-4475-833B-DC48C1B2AEF9}" destId="{A033DC3D-C63F-43D1-8859-07FC97577F71}" srcOrd="0" destOrd="0" presId="urn:microsoft.com/office/officeart/2005/8/layout/vList2"/>
    <dgm:cxn modelId="{DDDC87AF-DFEC-4B25-8635-AB4A4454AF0A}" type="presOf" srcId="{2D7BB16C-BC6D-4286-B99C-3F0C123F58B4}" destId="{C3501B98-0BEF-4F4A-80D2-4E00AEFDFBA4}" srcOrd="0" destOrd="0" presId="urn:microsoft.com/office/officeart/2005/8/layout/vList2"/>
    <dgm:cxn modelId="{E27D26C0-CA14-41B8-B58C-67E62212BC77}" type="presOf" srcId="{E3A88706-D89E-4635-99F4-D8D28A220DED}" destId="{D5E05736-E9B4-4790-9BF3-E3D5EE35FD82}" srcOrd="0" destOrd="0" presId="urn:microsoft.com/office/officeart/2005/8/layout/vList2"/>
    <dgm:cxn modelId="{80B36DC0-A1CA-42E5-B78A-79BFF3C79841}" type="presOf" srcId="{2DD9BEDF-B9E2-4ABA-A056-FFA32216D3C8}" destId="{2A2F781F-16C1-4D29-B08D-ACB557B90863}" srcOrd="0" destOrd="0" presId="urn:microsoft.com/office/officeart/2005/8/layout/vList2"/>
    <dgm:cxn modelId="{BEAA1DEB-DDBE-4704-AEF4-EFCDF4260AC0}" srcId="{FDB40630-942D-4475-833B-DC48C1B2AEF9}" destId="{B937A78B-5A31-4E11-A370-D14A859726C9}" srcOrd="1" destOrd="0" parTransId="{813CC911-B253-4E8A-9163-AFBAB0DD25C6}" sibTransId="{0B4CCA1D-A940-44B9-8A4A-8BF73D5B2F3B}"/>
    <dgm:cxn modelId="{D71AE3A6-9161-4990-8BB5-0D4ADB2D81C5}" type="presParOf" srcId="{2A2F781F-16C1-4D29-B08D-ACB557B90863}" destId="{A033DC3D-C63F-43D1-8859-07FC97577F71}" srcOrd="0" destOrd="0" presId="urn:microsoft.com/office/officeart/2005/8/layout/vList2"/>
    <dgm:cxn modelId="{32A37F4E-F3B4-4503-ABBA-1B7931283093}" type="presParOf" srcId="{2A2F781F-16C1-4D29-B08D-ACB557B90863}" destId="{43B1C186-6125-456D-BA9F-8A974051ED2E}" srcOrd="1" destOrd="0" presId="urn:microsoft.com/office/officeart/2005/8/layout/vList2"/>
    <dgm:cxn modelId="{FE5DBF94-493B-4B4F-8FA7-17A60FB861B1}" type="presParOf" srcId="{2A2F781F-16C1-4D29-B08D-ACB557B90863}" destId="{D5E05736-E9B4-4790-9BF3-E3D5EE35FD82}" srcOrd="2" destOrd="0" presId="urn:microsoft.com/office/officeart/2005/8/layout/vList2"/>
    <dgm:cxn modelId="{574C4416-BDE3-41DA-9ABE-85AEB7E220EB}" type="presParOf" srcId="{2A2F781F-16C1-4D29-B08D-ACB557B90863}" destId="{E301BC63-5CCB-4C61-A565-30FA6666025F}" srcOrd="3" destOrd="0" presId="urn:microsoft.com/office/officeart/2005/8/layout/vList2"/>
    <dgm:cxn modelId="{16D8871F-3DBC-4FCC-B9EB-7BEBE0B03048}" type="presParOf" srcId="{2A2F781F-16C1-4D29-B08D-ACB557B90863}" destId="{C3501B98-0BEF-4F4A-80D2-4E00AEFDFBA4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vList2" loCatId="list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7BC353A9-2E9A-4B42-B9DF-3904A72B6A0E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Reaktioon tarvitaan:</a:t>
          </a:r>
          <a:endParaRPr lang="en-US" dirty="0"/>
        </a:p>
      </dgm:t>
    </dgm:pt>
    <dgm:pt modelId="{C30C19A1-0B86-4B48-8CD1-BC251B538350}" type="parTrans" cxnId="{E893A836-17D9-42C9-9647-9C13C0169F53}">
      <dgm:prSet/>
      <dgm:spPr/>
      <dgm:t>
        <a:bodyPr/>
        <a:lstStyle/>
        <a:p>
          <a:endParaRPr lang="en-US"/>
        </a:p>
      </dgm:t>
    </dgm:pt>
    <dgm:pt modelId="{34A83047-F862-4DFB-A54B-26CD2997000F}" type="sibTrans" cxnId="{E893A836-17D9-42C9-9647-9C13C0169F53}">
      <dgm:prSet/>
      <dgm:spPr/>
      <dgm:t>
        <a:bodyPr/>
        <a:lstStyle/>
        <a:p>
          <a:endParaRPr lang="en-US"/>
        </a:p>
      </dgm:t>
    </dgm:pt>
    <dgm:pt modelId="{7A358A5D-5F67-44F6-8864-075441361857}">
      <dgm:prSet/>
      <dgm:spPr/>
      <dgm:t>
        <a:bodyPr/>
        <a:lstStyle/>
        <a:p>
          <a:r>
            <a:rPr lang="fi-FI" dirty="0"/>
            <a:t>Entsyymi ja sen aktiivinen kohta</a:t>
          </a:r>
        </a:p>
      </dgm:t>
    </dgm:pt>
    <dgm:pt modelId="{5B76463D-F45C-4D11-B287-D3881150AB35}" type="parTrans" cxnId="{6CCC8CF8-B637-481E-870B-05D6ED631FF6}">
      <dgm:prSet/>
      <dgm:spPr/>
      <dgm:t>
        <a:bodyPr/>
        <a:lstStyle/>
        <a:p>
          <a:endParaRPr lang="fi-FI"/>
        </a:p>
      </dgm:t>
    </dgm:pt>
    <dgm:pt modelId="{D50FB439-74E1-46D5-836C-1D5C6F693D3D}" type="sibTrans" cxnId="{6CCC8CF8-B637-481E-870B-05D6ED631FF6}">
      <dgm:prSet/>
      <dgm:spPr/>
      <dgm:t>
        <a:bodyPr/>
        <a:lstStyle/>
        <a:p>
          <a:endParaRPr lang="fi-FI"/>
        </a:p>
      </dgm:t>
    </dgm:pt>
    <dgm:pt modelId="{1A3495FD-C1AA-4A18-BAE7-6F144BFE3F1A}">
      <dgm:prSet/>
      <dgm:spPr/>
      <dgm:t>
        <a:bodyPr/>
        <a:lstStyle/>
        <a:p>
          <a:r>
            <a:rPr lang="fi-FI"/>
            <a:t>Entsyymiin sopiva(t) lähtöaine(et) eli substraatti</a:t>
          </a:r>
          <a:endParaRPr lang="fi-FI" dirty="0"/>
        </a:p>
      </dgm:t>
    </dgm:pt>
    <dgm:pt modelId="{8020F419-58D5-47D6-B739-620319F909B4}" type="parTrans" cxnId="{4E353C82-EE28-4E06-9CF5-BACC9D0D35C3}">
      <dgm:prSet/>
      <dgm:spPr/>
      <dgm:t>
        <a:bodyPr/>
        <a:lstStyle/>
        <a:p>
          <a:endParaRPr lang="fi-FI"/>
        </a:p>
      </dgm:t>
    </dgm:pt>
    <dgm:pt modelId="{2559B7AC-A3AF-4275-8723-C6719564BAE7}" type="sibTrans" cxnId="{4E353C82-EE28-4E06-9CF5-BACC9D0D35C3}">
      <dgm:prSet/>
      <dgm:spPr/>
      <dgm:t>
        <a:bodyPr/>
        <a:lstStyle/>
        <a:p>
          <a:endParaRPr lang="fi-FI"/>
        </a:p>
      </dgm:t>
    </dgm:pt>
    <dgm:pt modelId="{A400FDBF-5FAD-4557-8369-0FB44C42121A}">
      <dgm:prSet/>
      <dgm:spPr/>
      <dgm:t>
        <a:bodyPr/>
        <a:lstStyle/>
        <a:p>
          <a:r>
            <a:rPr lang="fi-FI"/>
            <a:t>Entsyymin toiminnalle sopiva lämpötila ja happamuus</a:t>
          </a:r>
          <a:endParaRPr lang="fi-FI" dirty="0"/>
        </a:p>
      </dgm:t>
    </dgm:pt>
    <dgm:pt modelId="{C0BC2985-30C5-4E04-956C-B258753E6D4D}" type="parTrans" cxnId="{5970D9D8-04B5-4FF3-A215-B94B2D202DB6}">
      <dgm:prSet/>
      <dgm:spPr/>
      <dgm:t>
        <a:bodyPr/>
        <a:lstStyle/>
        <a:p>
          <a:endParaRPr lang="fi-FI"/>
        </a:p>
      </dgm:t>
    </dgm:pt>
    <dgm:pt modelId="{E6F3C430-8C05-4EED-90C8-87725FBACC92}" type="sibTrans" cxnId="{5970D9D8-04B5-4FF3-A215-B94B2D202DB6}">
      <dgm:prSet/>
      <dgm:spPr/>
      <dgm:t>
        <a:bodyPr/>
        <a:lstStyle/>
        <a:p>
          <a:endParaRPr lang="fi-FI"/>
        </a:p>
      </dgm:t>
    </dgm:pt>
    <dgm:pt modelId="{74B51291-12D7-42E1-9058-0AFEF6B9D308}">
      <dgm:prSet/>
      <dgm:spPr/>
      <dgm:t>
        <a:bodyPr/>
        <a:lstStyle/>
        <a:p>
          <a:r>
            <a:rPr lang="fi-FI"/>
            <a:t>Mahdollisesti kofaktori, eli aine, joka aktivoi entsyymin toimintavalmiiksi</a:t>
          </a:r>
          <a:endParaRPr lang="fi-FI" dirty="0"/>
        </a:p>
      </dgm:t>
    </dgm:pt>
    <dgm:pt modelId="{AF81428B-7B75-481C-A344-F08D61A2CEE1}" type="parTrans" cxnId="{B416E217-8B98-4A89-A296-1AD90BE7DF8E}">
      <dgm:prSet/>
      <dgm:spPr/>
      <dgm:t>
        <a:bodyPr/>
        <a:lstStyle/>
        <a:p>
          <a:endParaRPr lang="fi-FI"/>
        </a:p>
      </dgm:t>
    </dgm:pt>
    <dgm:pt modelId="{3CB67CC0-2C76-4E37-9F12-BCE7D1041459}" type="sibTrans" cxnId="{B416E217-8B98-4A89-A296-1AD90BE7DF8E}">
      <dgm:prSet/>
      <dgm:spPr/>
      <dgm:t>
        <a:bodyPr/>
        <a:lstStyle/>
        <a:p>
          <a:endParaRPr lang="fi-FI"/>
        </a:p>
      </dgm:t>
    </dgm:pt>
    <dgm:pt modelId="{C98BB3D8-F1F9-4980-A813-50F0C2AEBD98}" type="pres">
      <dgm:prSet presAssocID="{005063B7-85D1-441D-87C6-864638207FCC}" presName="linear" presStyleCnt="0">
        <dgm:presLayoutVars>
          <dgm:animLvl val="lvl"/>
          <dgm:resizeHandles val="exact"/>
        </dgm:presLayoutVars>
      </dgm:prSet>
      <dgm:spPr/>
    </dgm:pt>
    <dgm:pt modelId="{A2041109-FF81-4945-89B7-A8A0C017B20F}" type="pres">
      <dgm:prSet presAssocID="{7BC353A9-2E9A-4B42-B9DF-3904A72B6A0E}" presName="parentText" presStyleLbl="node1" presStyleIdx="0" presStyleCnt="1">
        <dgm:presLayoutVars>
          <dgm:chMax val="0"/>
          <dgm:bulletEnabled val="1"/>
        </dgm:presLayoutVars>
      </dgm:prSet>
      <dgm:spPr/>
    </dgm:pt>
    <dgm:pt modelId="{249B46B8-A6D2-4619-BC8D-E4846F2669B1}" type="pres">
      <dgm:prSet presAssocID="{7BC353A9-2E9A-4B42-B9DF-3904A72B6A0E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B416E217-8B98-4A89-A296-1AD90BE7DF8E}" srcId="{7BC353A9-2E9A-4B42-B9DF-3904A72B6A0E}" destId="{74B51291-12D7-42E1-9058-0AFEF6B9D308}" srcOrd="3" destOrd="0" parTransId="{AF81428B-7B75-481C-A344-F08D61A2CEE1}" sibTransId="{3CB67CC0-2C76-4E37-9F12-BCE7D1041459}"/>
    <dgm:cxn modelId="{E893A836-17D9-42C9-9647-9C13C0169F53}" srcId="{005063B7-85D1-441D-87C6-864638207FCC}" destId="{7BC353A9-2E9A-4B42-B9DF-3904A72B6A0E}" srcOrd="0" destOrd="0" parTransId="{C30C19A1-0B86-4B48-8CD1-BC251B538350}" sibTransId="{34A83047-F862-4DFB-A54B-26CD2997000F}"/>
    <dgm:cxn modelId="{2190204B-2E81-4C25-B1E5-1613564821A5}" type="presOf" srcId="{005063B7-85D1-441D-87C6-864638207FCC}" destId="{C98BB3D8-F1F9-4980-A813-50F0C2AEBD98}" srcOrd="0" destOrd="0" presId="urn:microsoft.com/office/officeart/2005/8/layout/vList2"/>
    <dgm:cxn modelId="{49E41470-69B6-47B1-AEC2-3EBD97F15CEF}" type="presOf" srcId="{74B51291-12D7-42E1-9058-0AFEF6B9D308}" destId="{249B46B8-A6D2-4619-BC8D-E4846F2669B1}" srcOrd="0" destOrd="3" presId="urn:microsoft.com/office/officeart/2005/8/layout/vList2"/>
    <dgm:cxn modelId="{90EB1258-F72F-4F08-925E-3D5C9E3655CD}" type="presOf" srcId="{7A358A5D-5F67-44F6-8864-075441361857}" destId="{249B46B8-A6D2-4619-BC8D-E4846F2669B1}" srcOrd="0" destOrd="0" presId="urn:microsoft.com/office/officeart/2005/8/layout/vList2"/>
    <dgm:cxn modelId="{4E353C82-EE28-4E06-9CF5-BACC9D0D35C3}" srcId="{7BC353A9-2E9A-4B42-B9DF-3904A72B6A0E}" destId="{1A3495FD-C1AA-4A18-BAE7-6F144BFE3F1A}" srcOrd="1" destOrd="0" parTransId="{8020F419-58D5-47D6-B739-620319F909B4}" sibTransId="{2559B7AC-A3AF-4275-8723-C6719564BAE7}"/>
    <dgm:cxn modelId="{EBF53685-F8AF-407C-AE81-06CBD11601DB}" type="presOf" srcId="{7BC353A9-2E9A-4B42-B9DF-3904A72B6A0E}" destId="{A2041109-FF81-4945-89B7-A8A0C017B20F}" srcOrd="0" destOrd="0" presId="urn:microsoft.com/office/officeart/2005/8/layout/vList2"/>
    <dgm:cxn modelId="{6FEF2099-9A14-450F-B7D5-B222666947C4}" type="presOf" srcId="{A400FDBF-5FAD-4557-8369-0FB44C42121A}" destId="{249B46B8-A6D2-4619-BC8D-E4846F2669B1}" srcOrd="0" destOrd="2" presId="urn:microsoft.com/office/officeart/2005/8/layout/vList2"/>
    <dgm:cxn modelId="{5970D9D8-04B5-4FF3-A215-B94B2D202DB6}" srcId="{7BC353A9-2E9A-4B42-B9DF-3904A72B6A0E}" destId="{A400FDBF-5FAD-4557-8369-0FB44C42121A}" srcOrd="2" destOrd="0" parTransId="{C0BC2985-30C5-4E04-956C-B258753E6D4D}" sibTransId="{E6F3C430-8C05-4EED-90C8-87725FBACC92}"/>
    <dgm:cxn modelId="{6CCC8CF8-B637-481E-870B-05D6ED631FF6}" srcId="{7BC353A9-2E9A-4B42-B9DF-3904A72B6A0E}" destId="{7A358A5D-5F67-44F6-8864-075441361857}" srcOrd="0" destOrd="0" parTransId="{5B76463D-F45C-4D11-B287-D3881150AB35}" sibTransId="{D50FB439-74E1-46D5-836C-1D5C6F693D3D}"/>
    <dgm:cxn modelId="{E444B7FD-1873-47BB-AD10-F73DEB7056B1}" type="presOf" srcId="{1A3495FD-C1AA-4A18-BAE7-6F144BFE3F1A}" destId="{249B46B8-A6D2-4619-BC8D-E4846F2669B1}" srcOrd="0" destOrd="1" presId="urn:microsoft.com/office/officeart/2005/8/layout/vList2"/>
    <dgm:cxn modelId="{67A47AC9-1A43-4843-9DCD-06B8C85015CF}" type="presParOf" srcId="{C98BB3D8-F1F9-4980-A813-50F0C2AEBD98}" destId="{A2041109-FF81-4945-89B7-A8A0C017B20F}" srcOrd="0" destOrd="0" presId="urn:microsoft.com/office/officeart/2005/8/layout/vList2"/>
    <dgm:cxn modelId="{98A631CE-ECDF-4D0D-97FC-CCFD87EAF2E2}" type="presParOf" srcId="{C98BB3D8-F1F9-4980-A813-50F0C2AEBD98}" destId="{249B46B8-A6D2-4619-BC8D-E4846F2669B1}" srcOrd="1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vList2" loCatId="list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7BC353A9-2E9A-4B42-B9DF-3904A72B6A0E}">
      <dgm:prSet custT="1"/>
      <dgm:spPr>
        <a:solidFill>
          <a:srgbClr val="EC008C"/>
        </a:solidFill>
      </dgm:spPr>
      <dgm:t>
        <a:bodyPr/>
        <a:lstStyle/>
        <a:p>
          <a:r>
            <a:rPr lang="fi-FI" sz="2600" dirty="0">
              <a:ea typeface="+mn-lt"/>
              <a:cs typeface="+mn-lt"/>
            </a:rPr>
            <a:t>Reaktion voivat estää:</a:t>
          </a:r>
          <a:endParaRPr lang="en-US" sz="2600" dirty="0"/>
        </a:p>
      </dgm:t>
    </dgm:pt>
    <dgm:pt modelId="{34A83047-F862-4DFB-A54B-26CD2997000F}" type="sibTrans" cxnId="{E893A836-17D9-42C9-9647-9C13C0169F53}">
      <dgm:prSet/>
      <dgm:spPr/>
      <dgm:t>
        <a:bodyPr/>
        <a:lstStyle/>
        <a:p>
          <a:endParaRPr lang="en-US"/>
        </a:p>
      </dgm:t>
    </dgm:pt>
    <dgm:pt modelId="{C30C19A1-0B86-4B48-8CD1-BC251B538350}" type="parTrans" cxnId="{E893A836-17D9-42C9-9647-9C13C0169F53}">
      <dgm:prSet/>
      <dgm:spPr/>
      <dgm:t>
        <a:bodyPr/>
        <a:lstStyle/>
        <a:p>
          <a:endParaRPr lang="en-US"/>
        </a:p>
      </dgm:t>
    </dgm:pt>
    <dgm:pt modelId="{9068806F-1A5E-43A9-BFF0-E9247908DA5A}">
      <dgm:prSet custT="1"/>
      <dgm:spPr/>
      <dgm:t>
        <a:bodyPr/>
        <a:lstStyle/>
        <a:p>
          <a:r>
            <a:rPr lang="fi-FI" sz="2000" dirty="0">
              <a:ea typeface="+mn-lt"/>
              <a:cs typeface="+mn-lt"/>
            </a:rPr>
            <a:t>väärät olosuhteet (lämpötila, happamuus)</a:t>
          </a:r>
          <a:endParaRPr lang="en-US" sz="2000" dirty="0">
            <a:ea typeface="+mn-lt"/>
            <a:cs typeface="+mn-lt"/>
          </a:endParaRPr>
        </a:p>
      </dgm:t>
    </dgm:pt>
    <dgm:pt modelId="{D4AC70DC-2B68-443B-8230-EA5F1EE5BAC1}" type="sibTrans" cxnId="{92290085-0E57-4D20-B840-BC7510479F23}">
      <dgm:prSet/>
      <dgm:spPr/>
      <dgm:t>
        <a:bodyPr/>
        <a:lstStyle/>
        <a:p>
          <a:endParaRPr lang="fi-FI"/>
        </a:p>
      </dgm:t>
    </dgm:pt>
    <dgm:pt modelId="{911DB75F-DB85-4FA1-B3FA-4FCCD451A1EB}" type="parTrans" cxnId="{92290085-0E57-4D20-B840-BC7510479F23}">
      <dgm:prSet/>
      <dgm:spPr/>
      <dgm:t>
        <a:bodyPr/>
        <a:lstStyle/>
        <a:p>
          <a:endParaRPr lang="fi-FI"/>
        </a:p>
      </dgm:t>
    </dgm:pt>
    <dgm:pt modelId="{61B94145-327F-4180-A20B-47A47D8B395F}">
      <dgm:prSet custT="1"/>
      <dgm:spPr/>
      <dgm:t>
        <a:bodyPr/>
        <a:lstStyle/>
        <a:p>
          <a:endParaRPr lang="en-US" sz="2000" dirty="0">
            <a:ea typeface="+mn-lt"/>
            <a:cs typeface="+mn-lt"/>
          </a:endParaRPr>
        </a:p>
      </dgm:t>
    </dgm:pt>
    <dgm:pt modelId="{BA6420A9-B302-43E1-8718-811C9C7E1D1F}" type="sibTrans" cxnId="{776B342A-665A-496B-99A0-6872A2CC4989}">
      <dgm:prSet/>
      <dgm:spPr/>
      <dgm:t>
        <a:bodyPr/>
        <a:lstStyle/>
        <a:p>
          <a:endParaRPr lang="fi-FI"/>
        </a:p>
      </dgm:t>
    </dgm:pt>
    <dgm:pt modelId="{8D8C8B59-8896-40C2-B9F8-C6829742432D}" type="parTrans" cxnId="{776B342A-665A-496B-99A0-6872A2CC4989}">
      <dgm:prSet/>
      <dgm:spPr/>
      <dgm:t>
        <a:bodyPr/>
        <a:lstStyle/>
        <a:p>
          <a:endParaRPr lang="fi-FI"/>
        </a:p>
      </dgm:t>
    </dgm:pt>
    <dgm:pt modelId="{C98BB3D8-F1F9-4980-A813-50F0C2AEBD98}" type="pres">
      <dgm:prSet presAssocID="{005063B7-85D1-441D-87C6-864638207FCC}" presName="linear" presStyleCnt="0">
        <dgm:presLayoutVars>
          <dgm:animLvl val="lvl"/>
          <dgm:resizeHandles val="exact"/>
        </dgm:presLayoutVars>
      </dgm:prSet>
      <dgm:spPr/>
    </dgm:pt>
    <dgm:pt modelId="{A2041109-FF81-4945-89B7-A8A0C017B20F}" type="pres">
      <dgm:prSet presAssocID="{7BC353A9-2E9A-4B42-B9DF-3904A72B6A0E}" presName="parentText" presStyleLbl="node1" presStyleIdx="0" presStyleCnt="1">
        <dgm:presLayoutVars>
          <dgm:chMax val="0"/>
          <dgm:bulletEnabled val="1"/>
        </dgm:presLayoutVars>
      </dgm:prSet>
      <dgm:spPr/>
    </dgm:pt>
    <dgm:pt modelId="{249B46B8-A6D2-4619-BC8D-E4846F2669B1}" type="pres">
      <dgm:prSet presAssocID="{7BC353A9-2E9A-4B42-B9DF-3904A72B6A0E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776B342A-665A-496B-99A0-6872A2CC4989}" srcId="{7BC353A9-2E9A-4B42-B9DF-3904A72B6A0E}" destId="{61B94145-327F-4180-A20B-47A47D8B395F}" srcOrd="1" destOrd="0" parTransId="{8D8C8B59-8896-40C2-B9F8-C6829742432D}" sibTransId="{BA6420A9-B302-43E1-8718-811C9C7E1D1F}"/>
    <dgm:cxn modelId="{E893A836-17D9-42C9-9647-9C13C0169F53}" srcId="{005063B7-85D1-441D-87C6-864638207FCC}" destId="{7BC353A9-2E9A-4B42-B9DF-3904A72B6A0E}" srcOrd="0" destOrd="0" parTransId="{C30C19A1-0B86-4B48-8CD1-BC251B538350}" sibTransId="{34A83047-F862-4DFB-A54B-26CD2997000F}"/>
    <dgm:cxn modelId="{2190204B-2E81-4C25-B1E5-1613564821A5}" type="presOf" srcId="{005063B7-85D1-441D-87C6-864638207FCC}" destId="{C98BB3D8-F1F9-4980-A813-50F0C2AEBD98}" srcOrd="0" destOrd="0" presId="urn:microsoft.com/office/officeart/2005/8/layout/vList2"/>
    <dgm:cxn modelId="{4AAD867C-1CC6-4B59-A844-4BAD665DB76E}" type="presOf" srcId="{9068806F-1A5E-43A9-BFF0-E9247908DA5A}" destId="{249B46B8-A6D2-4619-BC8D-E4846F2669B1}" srcOrd="0" destOrd="0" presId="urn:microsoft.com/office/officeart/2005/8/layout/vList2"/>
    <dgm:cxn modelId="{1DB6797D-1E0A-4F7C-9292-D3CE695495BA}" type="presOf" srcId="{61B94145-327F-4180-A20B-47A47D8B395F}" destId="{249B46B8-A6D2-4619-BC8D-E4846F2669B1}" srcOrd="0" destOrd="1" presId="urn:microsoft.com/office/officeart/2005/8/layout/vList2"/>
    <dgm:cxn modelId="{92290085-0E57-4D20-B840-BC7510479F23}" srcId="{7BC353A9-2E9A-4B42-B9DF-3904A72B6A0E}" destId="{9068806F-1A5E-43A9-BFF0-E9247908DA5A}" srcOrd="0" destOrd="0" parTransId="{911DB75F-DB85-4FA1-B3FA-4FCCD451A1EB}" sibTransId="{D4AC70DC-2B68-443B-8230-EA5F1EE5BAC1}"/>
    <dgm:cxn modelId="{EBF53685-F8AF-407C-AE81-06CBD11601DB}" type="presOf" srcId="{7BC353A9-2E9A-4B42-B9DF-3904A72B6A0E}" destId="{A2041109-FF81-4945-89B7-A8A0C017B20F}" srcOrd="0" destOrd="0" presId="urn:microsoft.com/office/officeart/2005/8/layout/vList2"/>
    <dgm:cxn modelId="{67A47AC9-1A43-4843-9DCD-06B8C85015CF}" type="presParOf" srcId="{C98BB3D8-F1F9-4980-A813-50F0C2AEBD98}" destId="{A2041109-FF81-4945-89B7-A8A0C017B20F}" srcOrd="0" destOrd="0" presId="urn:microsoft.com/office/officeart/2005/8/layout/vList2"/>
    <dgm:cxn modelId="{98A631CE-ECDF-4D0D-97FC-CCFD87EAF2E2}" type="presParOf" srcId="{C98BB3D8-F1F9-4980-A813-50F0C2AEBD98}" destId="{249B46B8-A6D2-4619-BC8D-E4846F2669B1}" srcOrd="1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vList2" loCatId="list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C0E80275-1241-478B-859F-87232F390F32}">
      <dgm:prSet/>
      <dgm:spPr>
        <a:solidFill>
          <a:srgbClr val="EC008C"/>
        </a:solidFill>
      </dgm:spPr>
      <dgm:t>
        <a:bodyPr/>
        <a:lstStyle/>
        <a:p>
          <a:r>
            <a:rPr lang="fi-FI" dirty="0">
              <a:ea typeface="+mn-lt"/>
              <a:cs typeface="+mn-lt"/>
            </a:rPr>
            <a:t>Reaktion voivat estää:</a:t>
          </a:r>
          <a:endParaRPr lang="en-US" dirty="0"/>
        </a:p>
      </dgm:t>
    </dgm:pt>
    <dgm:pt modelId="{30F66B82-79B9-44B4-80F9-7EA269B3AFB6}" type="parTrans" cxnId="{D07B2313-5C76-40D1-8E74-665E8F2076D4}">
      <dgm:prSet/>
      <dgm:spPr/>
      <dgm:t>
        <a:bodyPr/>
        <a:lstStyle/>
        <a:p>
          <a:endParaRPr lang="fi-FI"/>
        </a:p>
      </dgm:t>
    </dgm:pt>
    <dgm:pt modelId="{B2527DC5-7081-4542-9B80-F76A3394597B}" type="sibTrans" cxnId="{D07B2313-5C76-40D1-8E74-665E8F2076D4}">
      <dgm:prSet/>
      <dgm:spPr/>
      <dgm:t>
        <a:bodyPr/>
        <a:lstStyle/>
        <a:p>
          <a:endParaRPr lang="fi-FI"/>
        </a:p>
      </dgm:t>
    </dgm:pt>
    <dgm:pt modelId="{EFEC5B66-5248-4212-A4B3-3491AFDAC08F}">
      <dgm:prSet/>
      <dgm:spPr/>
      <dgm:t>
        <a:bodyPr/>
        <a:lstStyle/>
        <a:p>
          <a:r>
            <a:rPr lang="fi-FI" dirty="0">
              <a:latin typeface="+mj-lt"/>
              <a:ea typeface="+mj-lt"/>
              <a:cs typeface="+mj-lt"/>
            </a:rPr>
            <a:t>inhibiittori</a:t>
          </a:r>
          <a:endParaRPr lang="en-US" dirty="0">
            <a:ea typeface="+mn-lt"/>
            <a:cs typeface="+mn-lt"/>
          </a:endParaRPr>
        </a:p>
      </dgm:t>
    </dgm:pt>
    <dgm:pt modelId="{6A5F913D-6C74-4918-93F4-355AB603F6F8}" type="parTrans" cxnId="{A922E607-06C0-4BF4-92E9-3E935AA501E7}">
      <dgm:prSet/>
      <dgm:spPr/>
      <dgm:t>
        <a:bodyPr/>
        <a:lstStyle/>
        <a:p>
          <a:endParaRPr lang="fi-FI"/>
        </a:p>
      </dgm:t>
    </dgm:pt>
    <dgm:pt modelId="{C6656C14-B0EB-4BCC-A24C-4DB8B7BBB543}" type="sibTrans" cxnId="{A922E607-06C0-4BF4-92E9-3E935AA501E7}">
      <dgm:prSet/>
      <dgm:spPr/>
      <dgm:t>
        <a:bodyPr/>
        <a:lstStyle/>
        <a:p>
          <a:endParaRPr lang="fi-FI"/>
        </a:p>
      </dgm:t>
    </dgm:pt>
    <dgm:pt modelId="{FCE1E933-BDED-43E3-9403-400BF36D62E3}">
      <dgm:prSet/>
      <dgm:spPr/>
      <dgm:t>
        <a:bodyPr/>
        <a:lstStyle/>
        <a:p>
          <a:r>
            <a:rPr lang="fi-FI" dirty="0">
              <a:latin typeface="+mj-lt"/>
              <a:ea typeface="+mj-lt"/>
              <a:cs typeface="+mj-lt"/>
            </a:rPr>
            <a:t>lopputuotteiden suuri määrä </a:t>
          </a:r>
          <a:endParaRPr lang="fi-FI" dirty="0"/>
        </a:p>
      </dgm:t>
    </dgm:pt>
    <dgm:pt modelId="{57ECE7CC-54C4-4F29-A7C0-4FD27F9566D3}" type="parTrans" cxnId="{1EEA7439-622B-40A5-83EB-56856FF86018}">
      <dgm:prSet/>
      <dgm:spPr/>
      <dgm:t>
        <a:bodyPr/>
        <a:lstStyle/>
        <a:p>
          <a:endParaRPr lang="fi-FI"/>
        </a:p>
      </dgm:t>
    </dgm:pt>
    <dgm:pt modelId="{6507D8B9-B163-4519-BF43-5BAF79BF2A27}" type="sibTrans" cxnId="{1EEA7439-622B-40A5-83EB-56856FF86018}">
      <dgm:prSet/>
      <dgm:spPr/>
      <dgm:t>
        <a:bodyPr/>
        <a:lstStyle/>
        <a:p>
          <a:endParaRPr lang="fi-FI"/>
        </a:p>
      </dgm:t>
    </dgm:pt>
    <dgm:pt modelId="{4C115A60-777D-4324-93E7-4803C713CE94}">
      <dgm:prSet/>
      <dgm:spPr/>
      <dgm:t>
        <a:bodyPr/>
        <a:lstStyle/>
        <a:p>
          <a:r>
            <a:rPr lang="fi-FI" dirty="0">
              <a:latin typeface="+mj-lt"/>
              <a:ea typeface="+mj-lt"/>
              <a:cs typeface="+mj-lt"/>
            </a:rPr>
            <a:t>joka joko muuttaa entsyymin muotoa tai sitoutuu aktiiviseen kohtaan</a:t>
          </a:r>
          <a:endParaRPr lang="en-US" dirty="0">
            <a:ea typeface="+mn-lt"/>
            <a:cs typeface="+mn-lt"/>
          </a:endParaRPr>
        </a:p>
      </dgm:t>
    </dgm:pt>
    <dgm:pt modelId="{0A35D350-AF74-464F-9B9D-5AE16E66E26D}" type="parTrans" cxnId="{11B63509-AFE5-41C2-9DE6-9A14D6DCD4D8}">
      <dgm:prSet/>
      <dgm:spPr/>
      <dgm:t>
        <a:bodyPr/>
        <a:lstStyle/>
        <a:p>
          <a:endParaRPr lang="fi-FI"/>
        </a:p>
      </dgm:t>
    </dgm:pt>
    <dgm:pt modelId="{B17960A2-1226-4F7E-A555-FE491BA1BB8D}" type="sibTrans" cxnId="{11B63509-AFE5-41C2-9DE6-9A14D6DCD4D8}">
      <dgm:prSet/>
      <dgm:spPr/>
      <dgm:t>
        <a:bodyPr/>
        <a:lstStyle/>
        <a:p>
          <a:endParaRPr lang="fi-FI"/>
        </a:p>
      </dgm:t>
    </dgm:pt>
    <dgm:pt modelId="{C98BB3D8-F1F9-4980-A813-50F0C2AEBD98}" type="pres">
      <dgm:prSet presAssocID="{005063B7-85D1-441D-87C6-864638207FCC}" presName="linear" presStyleCnt="0">
        <dgm:presLayoutVars>
          <dgm:animLvl val="lvl"/>
          <dgm:resizeHandles val="exact"/>
        </dgm:presLayoutVars>
      </dgm:prSet>
      <dgm:spPr/>
    </dgm:pt>
    <dgm:pt modelId="{2DFF592F-B2CB-409B-B1AD-DC937C48A185}" type="pres">
      <dgm:prSet presAssocID="{C0E80275-1241-478B-859F-87232F390F32}" presName="parentText" presStyleLbl="node1" presStyleIdx="0" presStyleCnt="1">
        <dgm:presLayoutVars>
          <dgm:chMax val="0"/>
          <dgm:bulletEnabled val="1"/>
        </dgm:presLayoutVars>
      </dgm:prSet>
      <dgm:spPr/>
    </dgm:pt>
    <dgm:pt modelId="{54447777-4170-4179-BE98-9A02927BC225}" type="pres">
      <dgm:prSet presAssocID="{C0E80275-1241-478B-859F-87232F390F32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A922E607-06C0-4BF4-92E9-3E935AA501E7}" srcId="{C0E80275-1241-478B-859F-87232F390F32}" destId="{EFEC5B66-5248-4212-A4B3-3491AFDAC08F}" srcOrd="0" destOrd="0" parTransId="{6A5F913D-6C74-4918-93F4-355AB603F6F8}" sibTransId="{C6656C14-B0EB-4BCC-A24C-4DB8B7BBB543}"/>
    <dgm:cxn modelId="{11B63509-AFE5-41C2-9DE6-9A14D6DCD4D8}" srcId="{EFEC5B66-5248-4212-A4B3-3491AFDAC08F}" destId="{4C115A60-777D-4324-93E7-4803C713CE94}" srcOrd="0" destOrd="0" parTransId="{0A35D350-AF74-464F-9B9D-5AE16E66E26D}" sibTransId="{B17960A2-1226-4F7E-A555-FE491BA1BB8D}"/>
    <dgm:cxn modelId="{D07B2313-5C76-40D1-8E74-665E8F2076D4}" srcId="{005063B7-85D1-441D-87C6-864638207FCC}" destId="{C0E80275-1241-478B-859F-87232F390F32}" srcOrd="0" destOrd="0" parTransId="{30F66B82-79B9-44B4-80F9-7EA269B3AFB6}" sibTransId="{B2527DC5-7081-4542-9B80-F76A3394597B}"/>
    <dgm:cxn modelId="{5798C820-1867-4CF9-855A-69A41B5BDB6E}" type="presOf" srcId="{FCE1E933-BDED-43E3-9403-400BF36D62E3}" destId="{54447777-4170-4179-BE98-9A02927BC225}" srcOrd="0" destOrd="2" presId="urn:microsoft.com/office/officeart/2005/8/layout/vList2"/>
    <dgm:cxn modelId="{388F5825-EA01-4DEC-9481-A29A93B5B289}" type="presOf" srcId="{4C115A60-777D-4324-93E7-4803C713CE94}" destId="{54447777-4170-4179-BE98-9A02927BC225}" srcOrd="0" destOrd="1" presId="urn:microsoft.com/office/officeart/2005/8/layout/vList2"/>
    <dgm:cxn modelId="{803E5234-684D-4A7F-B848-F0C72392B5EF}" type="presOf" srcId="{EFEC5B66-5248-4212-A4B3-3491AFDAC08F}" destId="{54447777-4170-4179-BE98-9A02927BC225}" srcOrd="0" destOrd="0" presId="urn:microsoft.com/office/officeart/2005/8/layout/vList2"/>
    <dgm:cxn modelId="{1EEA7439-622B-40A5-83EB-56856FF86018}" srcId="{C0E80275-1241-478B-859F-87232F390F32}" destId="{FCE1E933-BDED-43E3-9403-400BF36D62E3}" srcOrd="1" destOrd="0" parTransId="{57ECE7CC-54C4-4F29-A7C0-4FD27F9566D3}" sibTransId="{6507D8B9-B163-4519-BF43-5BAF79BF2A27}"/>
    <dgm:cxn modelId="{BB677840-C181-4B97-8982-77B95D129FBC}" type="presOf" srcId="{C0E80275-1241-478B-859F-87232F390F32}" destId="{2DFF592F-B2CB-409B-B1AD-DC937C48A185}" srcOrd="0" destOrd="0" presId="urn:microsoft.com/office/officeart/2005/8/layout/vList2"/>
    <dgm:cxn modelId="{2190204B-2E81-4C25-B1E5-1613564821A5}" type="presOf" srcId="{005063B7-85D1-441D-87C6-864638207FCC}" destId="{C98BB3D8-F1F9-4980-A813-50F0C2AEBD98}" srcOrd="0" destOrd="0" presId="urn:microsoft.com/office/officeart/2005/8/layout/vList2"/>
    <dgm:cxn modelId="{CE2C273E-0F77-41C7-8305-5C938A0FBBD2}" type="presParOf" srcId="{C98BB3D8-F1F9-4980-A813-50F0C2AEBD98}" destId="{2DFF592F-B2CB-409B-B1AD-DC937C48A185}" srcOrd="0" destOrd="0" presId="urn:microsoft.com/office/officeart/2005/8/layout/vList2"/>
    <dgm:cxn modelId="{3509B8A4-FC8B-4308-8FE1-E8B90995F5CF}" type="presParOf" srcId="{C98BB3D8-F1F9-4980-A813-50F0C2AEBD98}" destId="{54447777-4170-4179-BE98-9A02927BC225}" srcOrd="1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041109-FF81-4945-89B7-A8A0C017B20F}">
      <dsp:nvSpPr>
        <dsp:cNvPr id="0" name=""/>
        <dsp:cNvSpPr/>
      </dsp:nvSpPr>
      <dsp:spPr>
        <a:xfrm>
          <a:off x="0" y="76262"/>
          <a:ext cx="3484782" cy="1209780"/>
        </a:xfrm>
        <a:prstGeom prst="roundRect">
          <a:avLst/>
        </a:prstGeom>
        <a:solidFill>
          <a:srgbClr val="EC008C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200" kern="1200" dirty="0"/>
            <a:t>proteiinit rakennetaan soluissa geenien ohjeiden mukaisesti</a:t>
          </a:r>
          <a:endParaRPr lang="en-US" sz="2200" kern="1200" dirty="0"/>
        </a:p>
      </dsp:txBody>
      <dsp:txXfrm>
        <a:off x="59057" y="135319"/>
        <a:ext cx="3366668" cy="1091666"/>
      </dsp:txXfrm>
    </dsp:sp>
    <dsp:sp modelId="{FB21B429-3EDA-48B0-B368-0FEE346780F1}">
      <dsp:nvSpPr>
        <dsp:cNvPr id="0" name=""/>
        <dsp:cNvSpPr/>
      </dsp:nvSpPr>
      <dsp:spPr>
        <a:xfrm>
          <a:off x="0" y="1349402"/>
          <a:ext cx="3484782" cy="1209780"/>
        </a:xfrm>
        <a:prstGeom prst="roundRect">
          <a:avLst/>
        </a:prstGeom>
        <a:solidFill>
          <a:srgbClr val="F27CB1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200" kern="1200" dirty="0"/>
            <a:t>jokaisella proteiinilla on omanlaisensa rakenne ja toiminta</a:t>
          </a:r>
          <a:endParaRPr lang="fi-FI" sz="2200" kern="1200" dirty="0">
            <a:cs typeface="Calibri"/>
          </a:endParaRPr>
        </a:p>
      </dsp:txBody>
      <dsp:txXfrm>
        <a:off x="59057" y="1408459"/>
        <a:ext cx="3366668" cy="1091666"/>
      </dsp:txXfrm>
    </dsp:sp>
    <dsp:sp modelId="{885386F3-C075-41A0-A364-8A99D5D6461C}">
      <dsp:nvSpPr>
        <dsp:cNvPr id="0" name=""/>
        <dsp:cNvSpPr/>
      </dsp:nvSpPr>
      <dsp:spPr>
        <a:xfrm>
          <a:off x="0" y="2622543"/>
          <a:ext cx="3484782" cy="1209780"/>
        </a:xfrm>
        <a:prstGeom prst="roundRect">
          <a:avLst/>
        </a:prstGeom>
        <a:solidFill>
          <a:srgbClr val="F9C3DB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200" kern="1200" dirty="0"/>
            <a:t>proteiinit koostuvat aminohapoista, joita esiintyy eliöissä 20 erilaista</a:t>
          </a:r>
          <a:endParaRPr lang="fi-FI" sz="2200" kern="1200" dirty="0">
            <a:cs typeface="Calibri"/>
          </a:endParaRPr>
        </a:p>
      </dsp:txBody>
      <dsp:txXfrm>
        <a:off x="59057" y="2681600"/>
        <a:ext cx="3366668" cy="109166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33DC3D-C63F-43D1-8859-07FC97577F71}">
      <dsp:nvSpPr>
        <dsp:cNvPr id="0" name=""/>
        <dsp:cNvSpPr/>
      </dsp:nvSpPr>
      <dsp:spPr>
        <a:xfrm>
          <a:off x="0" y="19286"/>
          <a:ext cx="10515600" cy="914940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300" kern="1200" dirty="0"/>
            <a:t>Proteiinit rakentuvat aminohapoista, joiden muodostama ketju aikaansaa proteiinin primaarirakenteen</a:t>
          </a:r>
        </a:p>
      </dsp:txBody>
      <dsp:txXfrm>
        <a:off x="44664" y="63950"/>
        <a:ext cx="10426272" cy="825612"/>
      </dsp:txXfrm>
    </dsp:sp>
    <dsp:sp modelId="{528E58FA-D514-4974-95F1-C3A81A6CC8AA}">
      <dsp:nvSpPr>
        <dsp:cNvPr id="0" name=""/>
        <dsp:cNvSpPr/>
      </dsp:nvSpPr>
      <dsp:spPr>
        <a:xfrm>
          <a:off x="0" y="1000466"/>
          <a:ext cx="10515600" cy="914940"/>
        </a:xfrm>
        <a:prstGeom prst="roundRect">
          <a:avLst/>
        </a:prstGeom>
        <a:solidFill>
          <a:srgbClr val="F27CB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300" kern="1200" dirty="0"/>
            <a:t>Aminohappoketjun kiertymistä ja laskostumista kutsutaan proteiinin sekundaarirakenteeksi</a:t>
          </a:r>
          <a:endParaRPr lang="fi-FI" sz="2300" kern="1200" dirty="0">
            <a:cs typeface="Calibri"/>
          </a:endParaRPr>
        </a:p>
      </dsp:txBody>
      <dsp:txXfrm>
        <a:off x="44664" y="1045130"/>
        <a:ext cx="10426272" cy="825612"/>
      </dsp:txXfrm>
    </dsp:sp>
    <dsp:sp modelId="{424E4846-D5F1-43E2-A1A2-0D91359A85CD}">
      <dsp:nvSpPr>
        <dsp:cNvPr id="0" name=""/>
        <dsp:cNvSpPr/>
      </dsp:nvSpPr>
      <dsp:spPr>
        <a:xfrm>
          <a:off x="0" y="1981646"/>
          <a:ext cx="10515600" cy="914940"/>
        </a:xfrm>
        <a:prstGeom prst="roundRect">
          <a:avLst/>
        </a:prstGeom>
        <a:solidFill>
          <a:srgbClr val="F599C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300" kern="1200" dirty="0"/>
            <a:t>Proteiinin kolmiulotteista rakennetta kutsutaan </a:t>
          </a:r>
          <a:r>
            <a:rPr lang="fi-FI" sz="2300" kern="1200" dirty="0" err="1"/>
            <a:t>tertiaarirakenteeksi</a:t>
          </a:r>
          <a:endParaRPr lang="fi-FI" sz="2300" kern="1200" dirty="0">
            <a:cs typeface="Calibri"/>
          </a:endParaRPr>
        </a:p>
      </dsp:txBody>
      <dsp:txXfrm>
        <a:off x="44664" y="2026310"/>
        <a:ext cx="10426272" cy="825612"/>
      </dsp:txXfrm>
    </dsp:sp>
    <dsp:sp modelId="{670C3138-35C4-4325-817E-26AD5BE05F94}">
      <dsp:nvSpPr>
        <dsp:cNvPr id="0" name=""/>
        <dsp:cNvSpPr/>
      </dsp:nvSpPr>
      <dsp:spPr>
        <a:xfrm>
          <a:off x="0" y="2962826"/>
          <a:ext cx="10515600" cy="914940"/>
        </a:xfrm>
        <a:prstGeom prst="roundRect">
          <a:avLst/>
        </a:prstGeom>
        <a:solidFill>
          <a:srgbClr val="F9C3DB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300" kern="1200" dirty="0"/>
            <a:t>Kahden tai useamman </a:t>
          </a:r>
          <a:r>
            <a:rPr lang="fi-FI" sz="2300" kern="1200" dirty="0" err="1"/>
            <a:t>tertiaarirakenteisen</a:t>
          </a:r>
          <a:r>
            <a:rPr lang="fi-FI" sz="2300" kern="1200" dirty="0"/>
            <a:t> aminohappoketjun liittyessä yhteen muodostuu </a:t>
          </a:r>
          <a:r>
            <a:rPr lang="fi-FI" sz="2300" kern="1200" dirty="0" err="1"/>
            <a:t>kvartaarirakenne</a:t>
          </a:r>
          <a:endParaRPr lang="fi-FI" sz="2300" kern="1200" dirty="0">
            <a:cs typeface="Calibri"/>
          </a:endParaRPr>
        </a:p>
      </dsp:txBody>
      <dsp:txXfrm>
        <a:off x="44664" y="3007490"/>
        <a:ext cx="10426272" cy="82561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A20ABC6-64BD-4CB6-9346-0B23CADA9C8B}">
      <dsp:nvSpPr>
        <dsp:cNvPr id="0" name=""/>
        <dsp:cNvSpPr/>
      </dsp:nvSpPr>
      <dsp:spPr>
        <a:xfrm>
          <a:off x="0" y="205067"/>
          <a:ext cx="5396488" cy="1264770"/>
        </a:xfrm>
        <a:prstGeom prst="roundRect">
          <a:avLst/>
        </a:prstGeom>
        <a:solidFill>
          <a:srgbClr val="EC008C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300" kern="1200" dirty="0"/>
            <a:t>Kolmiulotteisen rakenteen tuhoutumista kutsutaan denaturoitumiseksi.</a:t>
          </a:r>
          <a:br>
            <a:rPr lang="fi-FI" sz="2300" kern="1200" dirty="0"/>
          </a:br>
          <a:r>
            <a:rPr lang="fi-FI" sz="2300" kern="1200" dirty="0"/>
            <a:t>Silloin proteiini menettää toimintakykynsä.</a:t>
          </a:r>
          <a:endParaRPr lang="en-US" sz="2300" kern="1200" dirty="0"/>
        </a:p>
      </dsp:txBody>
      <dsp:txXfrm>
        <a:off x="61741" y="266808"/>
        <a:ext cx="5273006" cy="114128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33DC3D-C63F-43D1-8859-07FC97577F71}">
      <dsp:nvSpPr>
        <dsp:cNvPr id="0" name=""/>
        <dsp:cNvSpPr/>
      </dsp:nvSpPr>
      <dsp:spPr>
        <a:xfrm>
          <a:off x="0" y="66244"/>
          <a:ext cx="10515600" cy="887445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l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3700" kern="1200" dirty="0"/>
            <a:t>Solun aineenvaihduntareaktiot jaetaan</a:t>
          </a:r>
        </a:p>
      </dsp:txBody>
      <dsp:txXfrm>
        <a:off x="43321" y="109565"/>
        <a:ext cx="10428958" cy="800803"/>
      </dsp:txXfrm>
    </dsp:sp>
    <dsp:sp modelId="{43B1C186-6125-456D-BA9F-8A974051ED2E}">
      <dsp:nvSpPr>
        <dsp:cNvPr id="0" name=""/>
        <dsp:cNvSpPr/>
      </dsp:nvSpPr>
      <dsp:spPr>
        <a:xfrm>
          <a:off x="0" y="953689"/>
          <a:ext cx="10515600" cy="9956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46990" rIns="263144" bIns="46990" numCol="1" spcCol="1270" anchor="t" anchorCtr="0">
          <a:noAutofit/>
        </a:bodyPr>
        <a:lstStyle/>
        <a:p>
          <a:pPr marL="285750" lvl="1" indent="-285750" algn="l" defTabSz="1289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900" kern="1200"/>
            <a:t>Anabolisiin eli rakentaviin reaktioihin</a:t>
          </a:r>
          <a:endParaRPr lang="fi-FI" sz="2900" kern="1200" dirty="0">
            <a:cs typeface="Calibri"/>
          </a:endParaRPr>
        </a:p>
        <a:p>
          <a:pPr marL="285750" lvl="1" indent="-285750" algn="l" defTabSz="1289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900" kern="1200"/>
            <a:t>Katabolisiin eli hajottaviin reaktioihin</a:t>
          </a:r>
          <a:endParaRPr lang="fi-FI" sz="2900" kern="1200" dirty="0">
            <a:cs typeface="Calibri" panose="020F0502020204030204"/>
          </a:endParaRPr>
        </a:p>
      </dsp:txBody>
      <dsp:txXfrm>
        <a:off x="0" y="953689"/>
        <a:ext cx="10515600" cy="995670"/>
      </dsp:txXfrm>
    </dsp:sp>
    <dsp:sp modelId="{D5E05736-E9B4-4790-9BF3-E3D5EE35FD82}">
      <dsp:nvSpPr>
        <dsp:cNvPr id="0" name=""/>
        <dsp:cNvSpPr/>
      </dsp:nvSpPr>
      <dsp:spPr>
        <a:xfrm>
          <a:off x="0" y="1949359"/>
          <a:ext cx="10515600" cy="887445"/>
        </a:xfrm>
        <a:prstGeom prst="roundRect">
          <a:avLst/>
        </a:prstGeom>
        <a:solidFill>
          <a:srgbClr val="F599C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l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3700" kern="1200" dirty="0"/>
            <a:t>Entsyymit eivät itse kulu tai muutu reaktioissa</a:t>
          </a:r>
        </a:p>
      </dsp:txBody>
      <dsp:txXfrm>
        <a:off x="43321" y="1992680"/>
        <a:ext cx="10428958" cy="800803"/>
      </dsp:txXfrm>
    </dsp:sp>
    <dsp:sp modelId="{C3501B98-0BEF-4F4A-80D2-4E00AEFDFBA4}">
      <dsp:nvSpPr>
        <dsp:cNvPr id="0" name=""/>
        <dsp:cNvSpPr/>
      </dsp:nvSpPr>
      <dsp:spPr>
        <a:xfrm>
          <a:off x="0" y="2943364"/>
          <a:ext cx="10515600" cy="887445"/>
        </a:xfrm>
        <a:prstGeom prst="roundRect">
          <a:avLst/>
        </a:prstGeom>
        <a:solidFill>
          <a:srgbClr val="F9C3DB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l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3700" kern="1200"/>
            <a:t>Solujen toiminta ilman entsyymejä olisi mahdotonta</a:t>
          </a:r>
          <a:endParaRPr lang="fi-FI" sz="3700" kern="1200" dirty="0"/>
        </a:p>
      </dsp:txBody>
      <dsp:txXfrm>
        <a:off x="43321" y="2986685"/>
        <a:ext cx="10428958" cy="800803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041109-FF81-4945-89B7-A8A0C017B20F}">
      <dsp:nvSpPr>
        <dsp:cNvPr id="0" name=""/>
        <dsp:cNvSpPr/>
      </dsp:nvSpPr>
      <dsp:spPr>
        <a:xfrm>
          <a:off x="0" y="108617"/>
          <a:ext cx="3484782" cy="623610"/>
        </a:xfrm>
        <a:prstGeom prst="roundRect">
          <a:avLst/>
        </a:prstGeom>
        <a:solidFill>
          <a:srgbClr val="EC008C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600" kern="1200" dirty="0"/>
            <a:t>Reaktioon tarvitaan:</a:t>
          </a:r>
          <a:endParaRPr lang="en-US" sz="2600" kern="1200" dirty="0"/>
        </a:p>
      </dsp:txBody>
      <dsp:txXfrm>
        <a:off x="30442" y="139059"/>
        <a:ext cx="3423898" cy="562726"/>
      </dsp:txXfrm>
    </dsp:sp>
    <dsp:sp modelId="{249B46B8-A6D2-4619-BC8D-E4846F2669B1}">
      <dsp:nvSpPr>
        <dsp:cNvPr id="0" name=""/>
        <dsp:cNvSpPr/>
      </dsp:nvSpPr>
      <dsp:spPr>
        <a:xfrm>
          <a:off x="0" y="732228"/>
          <a:ext cx="3484782" cy="30677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642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000" kern="1200" dirty="0"/>
            <a:t>Entsyymi ja sen aktiivinen kohta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000" kern="1200"/>
            <a:t>Entsyymiin sopiva(t) lähtöaine(et) eli substraatti</a:t>
          </a:r>
          <a:endParaRPr lang="fi-FI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000" kern="1200"/>
            <a:t>Entsyymin toiminnalle sopiva lämpötila ja happamuus</a:t>
          </a:r>
          <a:endParaRPr lang="fi-FI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000" kern="1200"/>
            <a:t>Mahdollisesti kofaktori, eli aine, joka aktivoi entsyymin toimintavalmiiksi</a:t>
          </a:r>
          <a:endParaRPr lang="fi-FI" sz="2000" kern="1200" dirty="0"/>
        </a:p>
      </dsp:txBody>
      <dsp:txXfrm>
        <a:off x="0" y="732228"/>
        <a:ext cx="3484782" cy="306774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041109-FF81-4945-89B7-A8A0C017B20F}">
      <dsp:nvSpPr>
        <dsp:cNvPr id="0" name=""/>
        <dsp:cNvSpPr/>
      </dsp:nvSpPr>
      <dsp:spPr>
        <a:xfrm>
          <a:off x="0" y="548320"/>
          <a:ext cx="3847054" cy="1216800"/>
        </a:xfrm>
        <a:prstGeom prst="roundRect">
          <a:avLst/>
        </a:prstGeom>
        <a:solidFill>
          <a:srgbClr val="EC008C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600" kern="1200" dirty="0">
              <a:ea typeface="+mn-lt"/>
              <a:cs typeface="+mn-lt"/>
            </a:rPr>
            <a:t>Reaktion voivat estää:</a:t>
          </a:r>
          <a:endParaRPr lang="en-US" sz="2600" kern="1200" dirty="0"/>
        </a:p>
      </dsp:txBody>
      <dsp:txXfrm>
        <a:off x="59399" y="607719"/>
        <a:ext cx="3728256" cy="1098002"/>
      </dsp:txXfrm>
    </dsp:sp>
    <dsp:sp modelId="{249B46B8-A6D2-4619-BC8D-E4846F2669B1}">
      <dsp:nvSpPr>
        <dsp:cNvPr id="0" name=""/>
        <dsp:cNvSpPr/>
      </dsp:nvSpPr>
      <dsp:spPr>
        <a:xfrm>
          <a:off x="0" y="1765120"/>
          <a:ext cx="3847054" cy="1076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2144" tIns="25400" rIns="142240" bIns="254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000" kern="1200" dirty="0">
              <a:ea typeface="+mn-lt"/>
              <a:cs typeface="+mn-lt"/>
            </a:rPr>
            <a:t>väärät olosuhteet (lämpötila, happamuus)</a:t>
          </a:r>
          <a:endParaRPr lang="en-US" sz="2000" kern="1200" dirty="0">
            <a:ea typeface="+mn-lt"/>
            <a:cs typeface="+mn-lt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en-US" sz="2000" kern="1200" dirty="0">
            <a:ea typeface="+mn-lt"/>
            <a:cs typeface="+mn-lt"/>
          </a:endParaRPr>
        </a:p>
      </dsp:txBody>
      <dsp:txXfrm>
        <a:off x="0" y="1765120"/>
        <a:ext cx="3847054" cy="107640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DFF592F-B2CB-409B-B1AD-DC937C48A185}">
      <dsp:nvSpPr>
        <dsp:cNvPr id="0" name=""/>
        <dsp:cNvSpPr/>
      </dsp:nvSpPr>
      <dsp:spPr>
        <a:xfrm>
          <a:off x="0" y="360602"/>
          <a:ext cx="4236798" cy="743535"/>
        </a:xfrm>
        <a:prstGeom prst="roundRect">
          <a:avLst/>
        </a:prstGeom>
        <a:solidFill>
          <a:srgbClr val="EC008C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8110" tIns="118110" rIns="118110" bIns="118110" numCol="1" spcCol="1270" anchor="ctr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3100" kern="1200" dirty="0">
              <a:ea typeface="+mn-lt"/>
              <a:cs typeface="+mn-lt"/>
            </a:rPr>
            <a:t>Reaktion voivat estää:</a:t>
          </a:r>
          <a:endParaRPr lang="en-US" sz="3100" kern="1200" dirty="0"/>
        </a:p>
      </dsp:txBody>
      <dsp:txXfrm>
        <a:off x="36296" y="396898"/>
        <a:ext cx="4164206" cy="670943"/>
      </dsp:txXfrm>
    </dsp:sp>
    <dsp:sp modelId="{54447777-4170-4179-BE98-9A02927BC225}">
      <dsp:nvSpPr>
        <dsp:cNvPr id="0" name=""/>
        <dsp:cNvSpPr/>
      </dsp:nvSpPr>
      <dsp:spPr>
        <a:xfrm>
          <a:off x="0" y="1104137"/>
          <a:ext cx="4236798" cy="19251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4518" tIns="39370" rIns="220472" bIns="39370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400" kern="1200" dirty="0">
              <a:latin typeface="+mj-lt"/>
              <a:ea typeface="+mj-lt"/>
              <a:cs typeface="+mj-lt"/>
            </a:rPr>
            <a:t>inhibiittori</a:t>
          </a:r>
          <a:endParaRPr lang="en-US" sz="2400" kern="1200" dirty="0">
            <a:ea typeface="+mn-lt"/>
            <a:cs typeface="+mn-lt"/>
          </a:endParaRPr>
        </a:p>
        <a:p>
          <a:pPr marL="457200" lvl="2" indent="-228600" algn="l" defTabSz="10668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400" kern="1200" dirty="0">
              <a:latin typeface="+mj-lt"/>
              <a:ea typeface="+mj-lt"/>
              <a:cs typeface="+mj-lt"/>
            </a:rPr>
            <a:t>joka joko muuttaa entsyymin muotoa tai sitoutuu aktiiviseen kohtaan</a:t>
          </a:r>
          <a:endParaRPr lang="en-US" sz="2400" kern="1200" dirty="0">
            <a:ea typeface="+mn-lt"/>
            <a:cs typeface="+mn-lt"/>
          </a:endParaRP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400" kern="1200" dirty="0">
              <a:latin typeface="+mj-lt"/>
              <a:ea typeface="+mj-lt"/>
              <a:cs typeface="+mj-lt"/>
            </a:rPr>
            <a:t>lopputuotteiden suuri määrä </a:t>
          </a:r>
          <a:endParaRPr lang="fi-FI" sz="2400" kern="1200" dirty="0"/>
        </a:p>
      </dsp:txBody>
      <dsp:txXfrm>
        <a:off x="0" y="1104137"/>
        <a:ext cx="4236798" cy="19251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FFB6CB-8672-6C41-9AE6-36381D05995E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2884B2-4647-6F4B-B58A-4FBCFBA433A2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158384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464523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Otsikko ja pystysuor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467716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Pystysuora 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ystysuora otsikko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900368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887857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4982065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119600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7" name="Päivämäärän paikkamerkki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8" name="Alatunnisteen paikkamerk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9" name="Dian numeron paikkamerkki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102507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864842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3" name="Alatunnisteen paikkamerk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878603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tsiko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59348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tsikolline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Kuvan paikkamerkki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i-FI"/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398991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i 7" hidden="1">
            <a:extLst>
              <a:ext uri="{FF2B5EF4-FFF2-40B4-BE49-F238E27FC236}">
                <a16:creationId xmlns:a16="http://schemas.microsoft.com/office/drawing/2014/main" id="{C41D900F-7DAD-4BA4-91FC-1E405899BD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89268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8" name="Objekti 7" hidden="1">
                        <a:extLst>
                          <a:ext uri="{FF2B5EF4-FFF2-40B4-BE49-F238E27FC236}">
                            <a16:creationId xmlns:a16="http://schemas.microsoft.com/office/drawing/2014/main" id="{C41D900F-7DAD-4BA4-91FC-1E405899BD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73374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3.png"/><Relationship Id="rId7" Type="http://schemas.openxmlformats.org/officeDocument/2006/relationships/diagramColors" Target="../diagrams/colors1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3" Type="http://schemas.openxmlformats.org/officeDocument/2006/relationships/oleObject" Target="../embeddings/oleObject2.bin"/><Relationship Id="rId7" Type="http://schemas.openxmlformats.org/officeDocument/2006/relationships/diagramQuickStyle" Target="../diagrams/quickStyl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diagramLayout" Target="../diagrams/layout2.xml"/><Relationship Id="rId5" Type="http://schemas.openxmlformats.org/officeDocument/2006/relationships/diagramData" Target="../diagrams/data2.xml"/><Relationship Id="rId10" Type="http://schemas.openxmlformats.org/officeDocument/2006/relationships/image" Target="../media/image3.png"/><Relationship Id="rId4" Type="http://schemas.openxmlformats.org/officeDocument/2006/relationships/image" Target="../media/image1.emf"/><Relationship Id="rId9" Type="http://schemas.microsoft.com/office/2007/relationships/diagramDrawing" Target="../diagrams/drawing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4.xml"/><Relationship Id="rId3" Type="http://schemas.openxmlformats.org/officeDocument/2006/relationships/oleObject" Target="../embeddings/oleObject3.bin"/><Relationship Id="rId7" Type="http://schemas.openxmlformats.org/officeDocument/2006/relationships/diagramQuickStyle" Target="../diagrams/quickStyl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diagramLayout" Target="../diagrams/layout4.xml"/><Relationship Id="rId5" Type="http://schemas.openxmlformats.org/officeDocument/2006/relationships/diagramData" Target="../diagrams/data4.xml"/><Relationship Id="rId10" Type="http://schemas.openxmlformats.org/officeDocument/2006/relationships/image" Target="../media/image3.png"/><Relationship Id="rId4" Type="http://schemas.openxmlformats.org/officeDocument/2006/relationships/image" Target="../media/image1.emf"/><Relationship Id="rId9" Type="http://schemas.microsoft.com/office/2007/relationships/diagramDrawing" Target="../diagrams/drawing4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5.xml"/><Relationship Id="rId3" Type="http://schemas.openxmlformats.org/officeDocument/2006/relationships/image" Target="../media/image3.png"/><Relationship Id="rId7" Type="http://schemas.openxmlformats.org/officeDocument/2006/relationships/diagramColors" Target="../diagrams/colors5.xm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5.xml"/><Relationship Id="rId5" Type="http://schemas.openxmlformats.org/officeDocument/2006/relationships/diagramLayout" Target="../diagrams/layout5.xml"/><Relationship Id="rId4" Type="http://schemas.openxmlformats.org/officeDocument/2006/relationships/diagramData" Target="../diagrams/data5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6.xml"/><Relationship Id="rId3" Type="http://schemas.openxmlformats.org/officeDocument/2006/relationships/image" Target="../media/image3.png"/><Relationship Id="rId7" Type="http://schemas.openxmlformats.org/officeDocument/2006/relationships/diagramColors" Target="../diagrams/colors6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6.xml"/><Relationship Id="rId5" Type="http://schemas.openxmlformats.org/officeDocument/2006/relationships/diagramLayout" Target="../diagrams/layout6.xml"/><Relationship Id="rId4" Type="http://schemas.openxmlformats.org/officeDocument/2006/relationships/diagramData" Target="../diagrams/data6.xml"/><Relationship Id="rId9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9" name="Rectangle 58">
            <a:extLst>
              <a:ext uri="{FF2B5EF4-FFF2-40B4-BE49-F238E27FC236}">
                <a16:creationId xmlns:a16="http://schemas.microsoft.com/office/drawing/2014/main" id="{131BAD53-4E89-4F62-BBB7-26359763ED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62756DA2-40EB-4C6F-B962-5822FFB54F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5653438" cy="6858000"/>
          </a:xfrm>
          <a:custGeom>
            <a:avLst/>
            <a:gdLst>
              <a:gd name="connsiteX0" fmla="*/ 0 w 6096000"/>
              <a:gd name="connsiteY0" fmla="*/ 0 h 6858000"/>
              <a:gd name="connsiteX1" fmla="*/ 5567517 w 6096000"/>
              <a:gd name="connsiteY1" fmla="*/ 0 h 6858000"/>
              <a:gd name="connsiteX2" fmla="*/ 5566938 w 6096000"/>
              <a:gd name="connsiteY2" fmla="*/ 1705 h 6858000"/>
              <a:gd name="connsiteX3" fmla="*/ 5551594 w 6096000"/>
              <a:gd name="connsiteY3" fmla="*/ 17287 h 6858000"/>
              <a:gd name="connsiteX4" fmla="*/ 5545641 w 6096000"/>
              <a:gd name="connsiteY4" fmla="*/ 130336 h 6858000"/>
              <a:gd name="connsiteX5" fmla="*/ 5538289 w 6096000"/>
              <a:gd name="connsiteY5" fmla="*/ 187093 h 6858000"/>
              <a:gd name="connsiteX6" fmla="*/ 5545790 w 6096000"/>
              <a:gd name="connsiteY6" fmla="*/ 265704 h 6858000"/>
              <a:gd name="connsiteX7" fmla="*/ 5542313 w 6096000"/>
              <a:gd name="connsiteY7" fmla="*/ 354566 h 6858000"/>
              <a:gd name="connsiteX8" fmla="*/ 5524126 w 6096000"/>
              <a:gd name="connsiteY8" fmla="*/ 472000 h 6858000"/>
              <a:gd name="connsiteX9" fmla="*/ 5522170 w 6096000"/>
              <a:gd name="connsiteY9" fmla="*/ 473782 h 6858000"/>
              <a:gd name="connsiteX10" fmla="*/ 5521798 w 6096000"/>
              <a:gd name="connsiteY10" fmla="*/ 491380 h 6858000"/>
              <a:gd name="connsiteX11" fmla="*/ 5536419 w 6096000"/>
              <a:gd name="connsiteY11" fmla="*/ 531675 h 6858000"/>
              <a:gd name="connsiteX12" fmla="*/ 5533435 w 6096000"/>
              <a:gd name="connsiteY12" fmla="*/ 536015 h 6858000"/>
              <a:gd name="connsiteX13" fmla="*/ 5538088 w 6096000"/>
              <a:gd name="connsiteY13" fmla="*/ 572092 h 6858000"/>
              <a:gd name="connsiteX14" fmla="*/ 5536061 w 6096000"/>
              <a:gd name="connsiteY14" fmla="*/ 572511 h 6858000"/>
              <a:gd name="connsiteX15" fmla="*/ 5528218 w 6096000"/>
              <a:gd name="connsiteY15" fmla="*/ 582332 h 6858000"/>
              <a:gd name="connsiteX16" fmla="*/ 5518011 w 6096000"/>
              <a:gd name="connsiteY16" fmla="*/ 601285 h 6858000"/>
              <a:gd name="connsiteX17" fmla="*/ 5473174 w 6096000"/>
              <a:gd name="connsiteY17" fmla="*/ 681608 h 6858000"/>
              <a:gd name="connsiteX18" fmla="*/ 5472963 w 6096000"/>
              <a:gd name="connsiteY18" fmla="*/ 689151 h 6858000"/>
              <a:gd name="connsiteX19" fmla="*/ 5472485 w 6096000"/>
              <a:gd name="connsiteY19" fmla="*/ 689289 h 6858000"/>
              <a:gd name="connsiteX20" fmla="*/ 5471326 w 6096000"/>
              <a:gd name="connsiteY20" fmla="*/ 697222 h 6858000"/>
              <a:gd name="connsiteX21" fmla="*/ 5472164 w 6096000"/>
              <a:gd name="connsiteY21" fmla="*/ 717531 h 6858000"/>
              <a:gd name="connsiteX22" fmla="*/ 5468891 w 6096000"/>
              <a:gd name="connsiteY22" fmla="*/ 722494 h 6858000"/>
              <a:gd name="connsiteX23" fmla="*/ 5463081 w 6096000"/>
              <a:gd name="connsiteY23" fmla="*/ 724368 h 6858000"/>
              <a:gd name="connsiteX24" fmla="*/ 5446981 w 6096000"/>
              <a:gd name="connsiteY24" fmla="*/ 752692 h 6858000"/>
              <a:gd name="connsiteX25" fmla="*/ 5417190 w 6096000"/>
              <a:gd name="connsiteY25" fmla="*/ 816346 h 6858000"/>
              <a:gd name="connsiteX26" fmla="*/ 5388958 w 6096000"/>
              <a:gd name="connsiteY26" fmla="*/ 889417 h 6858000"/>
              <a:gd name="connsiteX27" fmla="*/ 5307044 w 6096000"/>
              <a:gd name="connsiteY27" fmla="*/ 1063288 h 6858000"/>
              <a:gd name="connsiteX28" fmla="*/ 5303837 w 6096000"/>
              <a:gd name="connsiteY28" fmla="*/ 1157176 h 6858000"/>
              <a:gd name="connsiteX29" fmla="*/ 5286494 w 6096000"/>
              <a:gd name="connsiteY29" fmla="*/ 1210776 h 6858000"/>
              <a:gd name="connsiteX30" fmla="*/ 5282463 w 6096000"/>
              <a:gd name="connsiteY30" fmla="*/ 1301993 h 6858000"/>
              <a:gd name="connsiteX31" fmla="*/ 5252235 w 6096000"/>
              <a:gd name="connsiteY31" fmla="*/ 1360879 h 6858000"/>
              <a:gd name="connsiteX32" fmla="*/ 5244497 w 6096000"/>
              <a:gd name="connsiteY32" fmla="*/ 1404045 h 6858000"/>
              <a:gd name="connsiteX33" fmla="*/ 5223823 w 6096000"/>
              <a:gd name="connsiteY33" fmla="*/ 1429568 h 6858000"/>
              <a:gd name="connsiteX34" fmla="*/ 5224851 w 6096000"/>
              <a:gd name="connsiteY34" fmla="*/ 1430305 h 6858000"/>
              <a:gd name="connsiteX35" fmla="*/ 5212394 w 6096000"/>
              <a:gd name="connsiteY35" fmla="*/ 1463304 h 6858000"/>
              <a:gd name="connsiteX36" fmla="*/ 5209958 w 6096000"/>
              <a:gd name="connsiteY36" fmla="*/ 1514846 h 6858000"/>
              <a:gd name="connsiteX37" fmla="*/ 5206417 w 6096000"/>
              <a:gd name="connsiteY37" fmla="*/ 1519731 h 6858000"/>
              <a:gd name="connsiteX38" fmla="*/ 5206640 w 6096000"/>
              <a:gd name="connsiteY38" fmla="*/ 1519929 h 6858000"/>
              <a:gd name="connsiteX39" fmla="*/ 5207632 w 6096000"/>
              <a:gd name="connsiteY39" fmla="*/ 1546022 h 6858000"/>
              <a:gd name="connsiteX40" fmla="*/ 5212030 w 6096000"/>
              <a:gd name="connsiteY40" fmla="*/ 1578752 h 6858000"/>
              <a:gd name="connsiteX41" fmla="*/ 5203533 w 6096000"/>
              <a:gd name="connsiteY41" fmla="*/ 1647555 h 6858000"/>
              <a:gd name="connsiteX42" fmla="*/ 5190877 w 6096000"/>
              <a:gd name="connsiteY42" fmla="*/ 1715685 h 6858000"/>
              <a:gd name="connsiteX43" fmla="*/ 5184235 w 6096000"/>
              <a:gd name="connsiteY43" fmla="*/ 1740358 h 6858000"/>
              <a:gd name="connsiteX44" fmla="*/ 5181475 w 6096000"/>
              <a:gd name="connsiteY44" fmla="*/ 1784314 h 6858000"/>
              <a:gd name="connsiteX45" fmla="*/ 5185845 w 6096000"/>
              <a:gd name="connsiteY45" fmla="*/ 1804434 h 6858000"/>
              <a:gd name="connsiteX46" fmla="*/ 5185068 w 6096000"/>
              <a:gd name="connsiteY46" fmla="*/ 1805316 h 6858000"/>
              <a:gd name="connsiteX47" fmla="*/ 5188593 w 6096000"/>
              <a:gd name="connsiteY47" fmla="*/ 1807109 h 6858000"/>
              <a:gd name="connsiteX48" fmla="*/ 5185920 w 6096000"/>
              <a:gd name="connsiteY48" fmla="*/ 1821003 h 6858000"/>
              <a:gd name="connsiteX49" fmla="*/ 5183543 w 6096000"/>
              <a:gd name="connsiteY49" fmla="*/ 1824832 h 6858000"/>
              <a:gd name="connsiteX50" fmla="*/ 5182235 w 6096000"/>
              <a:gd name="connsiteY50" fmla="*/ 1830429 h 6858000"/>
              <a:gd name="connsiteX51" fmla="*/ 5182525 w 6096000"/>
              <a:gd name="connsiteY51" fmla="*/ 1830569 h 6858000"/>
              <a:gd name="connsiteX52" fmla="*/ 5180663 w 6096000"/>
              <a:gd name="connsiteY52" fmla="*/ 1835810 h 6858000"/>
              <a:gd name="connsiteX53" fmla="*/ 5167452 w 6096000"/>
              <a:gd name="connsiteY53" fmla="*/ 1861483 h 6858000"/>
              <a:gd name="connsiteX54" fmla="*/ 5174266 w 6096000"/>
              <a:gd name="connsiteY54" fmla="*/ 1892417 h 6858000"/>
              <a:gd name="connsiteX55" fmla="*/ 5189262 w 6096000"/>
              <a:gd name="connsiteY55" fmla="*/ 1895114 h 6858000"/>
              <a:gd name="connsiteX56" fmla="*/ 5187100 w 6096000"/>
              <a:gd name="connsiteY56" fmla="*/ 1899379 h 6858000"/>
              <a:gd name="connsiteX57" fmla="*/ 5180471 w 6096000"/>
              <a:gd name="connsiteY57" fmla="*/ 1907867 h 6858000"/>
              <a:gd name="connsiteX58" fmla="*/ 5181361 w 6096000"/>
              <a:gd name="connsiteY58" fmla="*/ 1910265 h 6858000"/>
              <a:gd name="connsiteX59" fmla="*/ 5178268 w 6096000"/>
              <a:gd name="connsiteY59" fmla="*/ 1935584 h 6858000"/>
              <a:gd name="connsiteX60" fmla="*/ 5183619 w 6096000"/>
              <a:gd name="connsiteY60" fmla="*/ 1942021 h 6858000"/>
              <a:gd name="connsiteX61" fmla="*/ 5184480 w 6096000"/>
              <a:gd name="connsiteY61" fmla="*/ 1945112 h 6858000"/>
              <a:gd name="connsiteX62" fmla="*/ 5172776 w 6096000"/>
              <a:gd name="connsiteY62" fmla="*/ 1961162 h 6858000"/>
              <a:gd name="connsiteX63" fmla="*/ 5168513 w 6096000"/>
              <a:gd name="connsiteY63" fmla="*/ 1969445 h 6858000"/>
              <a:gd name="connsiteX64" fmla="*/ 5126597 w 6096000"/>
              <a:gd name="connsiteY64" fmla="*/ 2024270 h 6858000"/>
              <a:gd name="connsiteX65" fmla="*/ 5119528 w 6096000"/>
              <a:gd name="connsiteY65" fmla="*/ 2107942 h 6858000"/>
              <a:gd name="connsiteX66" fmla="*/ 5110356 w 6096000"/>
              <a:gd name="connsiteY66" fmla="*/ 2193455 h 6858000"/>
              <a:gd name="connsiteX67" fmla="*/ 5104992 w 6096000"/>
              <a:gd name="connsiteY67" fmla="*/ 2260088 h 6858000"/>
              <a:gd name="connsiteX68" fmla="*/ 5059439 w 6096000"/>
              <a:gd name="connsiteY68" fmla="*/ 2335735 h 6858000"/>
              <a:gd name="connsiteX69" fmla="*/ 5022061 w 6096000"/>
              <a:gd name="connsiteY69" fmla="*/ 2408995 h 6858000"/>
              <a:gd name="connsiteX70" fmla="*/ 5022253 w 6096000"/>
              <a:gd name="connsiteY70" fmla="*/ 2445869 h 6858000"/>
              <a:gd name="connsiteX71" fmla="*/ 5011426 w 6096000"/>
              <a:gd name="connsiteY71" fmla="*/ 2496499 h 6858000"/>
              <a:gd name="connsiteX72" fmla="*/ 4994224 w 6096000"/>
              <a:gd name="connsiteY72" fmla="*/ 2549900 h 6858000"/>
              <a:gd name="connsiteX73" fmla="*/ 4995245 w 6096000"/>
              <a:gd name="connsiteY73" fmla="*/ 2596456 h 6858000"/>
              <a:gd name="connsiteX74" fmla="*/ 4988570 w 6096000"/>
              <a:gd name="connsiteY74" fmla="*/ 2606088 h 6858000"/>
              <a:gd name="connsiteX75" fmla="*/ 4988371 w 6096000"/>
              <a:gd name="connsiteY75" fmla="*/ 2635351 h 6858000"/>
              <a:gd name="connsiteX76" fmla="*/ 4983212 w 6096000"/>
              <a:gd name="connsiteY76" fmla="*/ 2665666 h 6858000"/>
              <a:gd name="connsiteX77" fmla="*/ 4968234 w 6096000"/>
              <a:gd name="connsiteY77" fmla="*/ 2715895 h 6858000"/>
              <a:gd name="connsiteX78" fmla="*/ 4975888 w 6096000"/>
              <a:gd name="connsiteY78" fmla="*/ 2725052 h 6858000"/>
              <a:gd name="connsiteX79" fmla="*/ 4980195 w 6096000"/>
              <a:gd name="connsiteY79" fmla="*/ 2726489 h 6858000"/>
              <a:gd name="connsiteX80" fmla="*/ 4976218 w 6096000"/>
              <a:gd name="connsiteY80" fmla="*/ 2740278 h 6858000"/>
              <a:gd name="connsiteX81" fmla="*/ 4980571 w 6096000"/>
              <a:gd name="connsiteY81" fmla="*/ 2751112 h 6858000"/>
              <a:gd name="connsiteX82" fmla="*/ 4973893 w 6096000"/>
              <a:gd name="connsiteY82" fmla="*/ 2760208 h 6858000"/>
              <a:gd name="connsiteX83" fmla="*/ 4979005 w 6096000"/>
              <a:gd name="connsiteY83" fmla="*/ 2790136 h 6858000"/>
              <a:gd name="connsiteX84" fmla="*/ 4986137 w 6096000"/>
              <a:gd name="connsiteY84" fmla="*/ 2804183 h 6858000"/>
              <a:gd name="connsiteX85" fmla="*/ 4986175 w 6096000"/>
              <a:gd name="connsiteY85" fmla="*/ 2825860 h 6858000"/>
              <a:gd name="connsiteX86" fmla="*/ 4993936 w 6096000"/>
              <a:gd name="connsiteY86" fmla="*/ 2911749 h 6858000"/>
              <a:gd name="connsiteX87" fmla="*/ 4992563 w 6096000"/>
              <a:gd name="connsiteY87" fmla="*/ 2977278 h 6858000"/>
              <a:gd name="connsiteX88" fmla="*/ 4980516 w 6096000"/>
              <a:gd name="connsiteY88" fmla="*/ 2991092 h 6858000"/>
              <a:gd name="connsiteX89" fmla="*/ 4992801 w 6096000"/>
              <a:gd name="connsiteY89" fmla="*/ 3020247 h 6858000"/>
              <a:gd name="connsiteX90" fmla="*/ 5014805 w 6096000"/>
              <a:gd name="connsiteY90" fmla="*/ 3065434 h 6858000"/>
              <a:gd name="connsiteX91" fmla="*/ 5002733 w 6096000"/>
              <a:gd name="connsiteY91" fmla="*/ 3103777 h 6858000"/>
              <a:gd name="connsiteX92" fmla="*/ 5002941 w 6096000"/>
              <a:gd name="connsiteY92" fmla="*/ 3151828 h 6858000"/>
              <a:gd name="connsiteX93" fmla="*/ 5002883 w 6096000"/>
              <a:gd name="connsiteY93" fmla="*/ 3180546 h 6858000"/>
              <a:gd name="connsiteX94" fmla="*/ 5016711 w 6096000"/>
              <a:gd name="connsiteY94" fmla="*/ 3258677 h 6858000"/>
              <a:gd name="connsiteX95" fmla="*/ 5017918 w 6096000"/>
              <a:gd name="connsiteY95" fmla="*/ 3262610 h 6858000"/>
              <a:gd name="connsiteX96" fmla="*/ 5011672 w 6096000"/>
              <a:gd name="connsiteY96" fmla="*/ 3277179 h 6858000"/>
              <a:gd name="connsiteX97" fmla="*/ 5009344 w 6096000"/>
              <a:gd name="connsiteY97" fmla="*/ 3278130 h 6858000"/>
              <a:gd name="connsiteX98" fmla="*/ 5026770 w 6096000"/>
              <a:gd name="connsiteY98" fmla="*/ 3325671 h 6858000"/>
              <a:gd name="connsiteX99" fmla="*/ 5024571 w 6096000"/>
              <a:gd name="connsiteY99" fmla="*/ 3332072 h 6858000"/>
              <a:gd name="connsiteX100" fmla="*/ 5041705 w 6096000"/>
              <a:gd name="connsiteY100" fmla="*/ 3362948 h 6858000"/>
              <a:gd name="connsiteX101" fmla="*/ 5047477 w 6096000"/>
              <a:gd name="connsiteY101" fmla="*/ 3378959 h 6858000"/>
              <a:gd name="connsiteX102" fmla="*/ 5060758 w 6096000"/>
              <a:gd name="connsiteY102" fmla="*/ 3407057 h 6858000"/>
              <a:gd name="connsiteX103" fmla="*/ 5058968 w 6096000"/>
              <a:gd name="connsiteY103" fmla="*/ 3409825 h 6858000"/>
              <a:gd name="connsiteX104" fmla="*/ 5062667 w 6096000"/>
              <a:gd name="connsiteY104" fmla="*/ 3415218 h 6858000"/>
              <a:gd name="connsiteX105" fmla="*/ 5060928 w 6096000"/>
              <a:gd name="connsiteY105" fmla="*/ 3419880 h 6858000"/>
              <a:gd name="connsiteX106" fmla="*/ 5062923 w 6096000"/>
              <a:gd name="connsiteY106" fmla="*/ 3424545 h 6858000"/>
              <a:gd name="connsiteX107" fmla="*/ 5064623 w 6096000"/>
              <a:gd name="connsiteY107" fmla="*/ 3476412 h 6858000"/>
              <a:gd name="connsiteX108" fmla="*/ 5069684 w 6096000"/>
              <a:gd name="connsiteY108" fmla="*/ 3486850 h 6858000"/>
              <a:gd name="connsiteX109" fmla="*/ 5063339 w 6096000"/>
              <a:gd name="connsiteY109" fmla="*/ 3496391 h 6858000"/>
              <a:gd name="connsiteX110" fmla="*/ 5070139 w 6096000"/>
              <a:gd name="connsiteY110" fmla="*/ 3531201 h 6858000"/>
              <a:gd name="connsiteX111" fmla="*/ 5079896 w 6096000"/>
              <a:gd name="connsiteY111" fmla="*/ 3542019 h 6858000"/>
              <a:gd name="connsiteX112" fmla="*/ 5087540 w 6096000"/>
              <a:gd name="connsiteY112" fmla="*/ 3552249 h 6858000"/>
              <a:gd name="connsiteX113" fmla="*/ 5087902 w 6096000"/>
              <a:gd name="connsiteY113" fmla="*/ 3553678 h 6858000"/>
              <a:gd name="connsiteX114" fmla="*/ 5091509 w 6096000"/>
              <a:gd name="connsiteY114" fmla="*/ 3568021 h 6858000"/>
              <a:gd name="connsiteX115" fmla="*/ 5091934 w 6096000"/>
              <a:gd name="connsiteY115" fmla="*/ 3569719 h 6858000"/>
              <a:gd name="connsiteX116" fmla="*/ 5089362 w 6096000"/>
              <a:gd name="connsiteY116" fmla="*/ 3586412 h 6858000"/>
              <a:gd name="connsiteX117" fmla="*/ 5092358 w 6096000"/>
              <a:gd name="connsiteY117" fmla="*/ 3597336 h 6858000"/>
              <a:gd name="connsiteX118" fmla="*/ 5084254 w 6096000"/>
              <a:gd name="connsiteY118" fmla="*/ 3606007 h 6858000"/>
              <a:gd name="connsiteX119" fmla="*/ 5084281 w 6096000"/>
              <a:gd name="connsiteY119" fmla="*/ 3641228 h 6858000"/>
              <a:gd name="connsiteX120" fmla="*/ 5091848 w 6096000"/>
              <a:gd name="connsiteY120" fmla="*/ 3653088 h 6858000"/>
              <a:gd name="connsiteX121" fmla="*/ 5097436 w 6096000"/>
              <a:gd name="connsiteY121" fmla="*/ 3664114 h 6858000"/>
              <a:gd name="connsiteX122" fmla="*/ 5097518 w 6096000"/>
              <a:gd name="connsiteY122" fmla="*/ 3665569 h 6858000"/>
              <a:gd name="connsiteX123" fmla="*/ 5099829 w 6096000"/>
              <a:gd name="connsiteY123" fmla="*/ 3707357 h 6858000"/>
              <a:gd name="connsiteX124" fmla="*/ 5114696 w 6096000"/>
              <a:gd name="connsiteY124" fmla="*/ 3778166 h 6858000"/>
              <a:gd name="connsiteX125" fmla="*/ 5135379 w 6096000"/>
              <a:gd name="connsiteY125" fmla="*/ 3878222 h 6858000"/>
              <a:gd name="connsiteX126" fmla="*/ 5130138 w 6096000"/>
              <a:gd name="connsiteY126" fmla="*/ 4048117 h 6858000"/>
              <a:gd name="connsiteX127" fmla="*/ 5090040 w 6096000"/>
              <a:gd name="connsiteY127" fmla="*/ 4219510 h 6858000"/>
              <a:gd name="connsiteX128" fmla="*/ 5092812 w 6096000"/>
              <a:gd name="connsiteY128" fmla="*/ 4411258 h 6858000"/>
              <a:gd name="connsiteX129" fmla="*/ 5084599 w 6096000"/>
              <a:gd name="connsiteY129" fmla="*/ 4488531 h 6858000"/>
              <a:gd name="connsiteX130" fmla="*/ 5084072 w 6096000"/>
              <a:gd name="connsiteY130" fmla="*/ 4539168 h 6858000"/>
              <a:gd name="connsiteX131" fmla="*/ 5068936 w 6096000"/>
              <a:gd name="connsiteY131" fmla="*/ 4625153 h 6858000"/>
              <a:gd name="connsiteX132" fmla="*/ 5059114 w 6096000"/>
              <a:gd name="connsiteY132" fmla="*/ 4733115 h 6858000"/>
              <a:gd name="connsiteX133" fmla="*/ 5037209 w 6096000"/>
              <a:gd name="connsiteY133" fmla="*/ 4844323 h 6858000"/>
              <a:gd name="connsiteX134" fmla="*/ 5020638 w 6096000"/>
              <a:gd name="connsiteY134" fmla="*/ 4877992 h 6858000"/>
              <a:gd name="connsiteX135" fmla="*/ 5006413 w 6096000"/>
              <a:gd name="connsiteY135" fmla="*/ 4925805 h 6858000"/>
              <a:gd name="connsiteX136" fmla="*/ 4971037 w 6096000"/>
              <a:gd name="connsiteY136" fmla="*/ 5009272 h 6858000"/>
              <a:gd name="connsiteX137" fmla="*/ 4963105 w 6096000"/>
              <a:gd name="connsiteY137" fmla="*/ 5111369 h 6858000"/>
              <a:gd name="connsiteX138" fmla="*/ 4976341 w 6096000"/>
              <a:gd name="connsiteY138" fmla="*/ 5210876 h 6858000"/>
              <a:gd name="connsiteX139" fmla="*/ 4980617 w 6096000"/>
              <a:gd name="connsiteY139" fmla="*/ 5269726 h 6858000"/>
              <a:gd name="connsiteX140" fmla="*/ 4997733 w 6096000"/>
              <a:gd name="connsiteY140" fmla="*/ 5464225 h 6858000"/>
              <a:gd name="connsiteX141" fmla="*/ 5001400 w 6096000"/>
              <a:gd name="connsiteY141" fmla="*/ 5594585 h 6858000"/>
              <a:gd name="connsiteX142" fmla="*/ 4983700 w 6096000"/>
              <a:gd name="connsiteY142" fmla="*/ 5667896 h 6858000"/>
              <a:gd name="connsiteX143" fmla="*/ 4968506 w 6096000"/>
              <a:gd name="connsiteY143" fmla="*/ 5769225 h 6858000"/>
              <a:gd name="connsiteX144" fmla="*/ 4969765 w 6096000"/>
              <a:gd name="connsiteY144" fmla="*/ 5823324 h 6858000"/>
              <a:gd name="connsiteX145" fmla="*/ 4966129 w 6096000"/>
              <a:gd name="connsiteY145" fmla="*/ 5862699 h 6858000"/>
              <a:gd name="connsiteX146" fmla="*/ 4970695 w 6096000"/>
              <a:gd name="connsiteY146" fmla="*/ 5906467 h 6858000"/>
              <a:gd name="connsiteX147" fmla="*/ 4991568 w 6096000"/>
              <a:gd name="connsiteY147" fmla="*/ 5939847 h 6858000"/>
              <a:gd name="connsiteX148" fmla="*/ 4986815 w 6096000"/>
              <a:gd name="connsiteY148" fmla="*/ 5973994 h 6858000"/>
              <a:gd name="connsiteX149" fmla="*/ 4987776 w 6096000"/>
              <a:gd name="connsiteY149" fmla="*/ 6089693 h 6858000"/>
              <a:gd name="connsiteX150" fmla="*/ 4991621 w 6096000"/>
              <a:gd name="connsiteY150" fmla="*/ 6224938 h 6858000"/>
              <a:gd name="connsiteX151" fmla="*/ 5017157 w 6096000"/>
              <a:gd name="connsiteY151" fmla="*/ 6370251 h 6858000"/>
              <a:gd name="connsiteX152" fmla="*/ 5040797 w 6096000"/>
              <a:gd name="connsiteY152" fmla="*/ 6541313 h 6858000"/>
              <a:gd name="connsiteX153" fmla="*/ 5045375 w 6096000"/>
              <a:gd name="connsiteY153" fmla="*/ 6640957 h 6858000"/>
              <a:gd name="connsiteX154" fmla="*/ 5058442 w 6096000"/>
              <a:gd name="connsiteY154" fmla="*/ 6705297 h 6858000"/>
              <a:gd name="connsiteX155" fmla="*/ 5071125 w 6096000"/>
              <a:gd name="connsiteY155" fmla="*/ 6759582 h 6858000"/>
              <a:gd name="connsiteX156" fmla="*/ 5069172 w 6096000"/>
              <a:gd name="connsiteY156" fmla="*/ 6817746 h 6858000"/>
              <a:gd name="connsiteX157" fmla="*/ 5072322 w 6096000"/>
              <a:gd name="connsiteY157" fmla="*/ 6843646 h 6858000"/>
              <a:gd name="connsiteX158" fmla="*/ 5091388 w 6096000"/>
              <a:gd name="connsiteY158" fmla="*/ 6857998 h 6858000"/>
              <a:gd name="connsiteX159" fmla="*/ 6096000 w 6096000"/>
              <a:gd name="connsiteY159" fmla="*/ 6857998 h 6858000"/>
              <a:gd name="connsiteX160" fmla="*/ 6096000 w 6096000"/>
              <a:gd name="connsiteY160" fmla="*/ 6858000 h 6858000"/>
              <a:gd name="connsiteX161" fmla="*/ 0 w 6096000"/>
              <a:gd name="connsiteY16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67517" y="0"/>
                </a:lnTo>
                <a:lnTo>
                  <a:pt x="5566938" y="1705"/>
                </a:lnTo>
                <a:cubicBezTo>
                  <a:pt x="5563126" y="8440"/>
                  <a:pt x="5558112" y="13784"/>
                  <a:pt x="5551594" y="17287"/>
                </a:cubicBezTo>
                <a:cubicBezTo>
                  <a:pt x="5562364" y="82036"/>
                  <a:pt x="5510349" y="69804"/>
                  <a:pt x="5545641" y="130336"/>
                </a:cubicBezTo>
                <a:cubicBezTo>
                  <a:pt x="5526953" y="117589"/>
                  <a:pt x="5536978" y="162458"/>
                  <a:pt x="5538289" y="187093"/>
                </a:cubicBezTo>
                <a:cubicBezTo>
                  <a:pt x="5536205" y="226511"/>
                  <a:pt x="5545722" y="205530"/>
                  <a:pt x="5545790" y="265704"/>
                </a:cubicBezTo>
                <a:cubicBezTo>
                  <a:pt x="5542296" y="317533"/>
                  <a:pt x="5543813" y="325288"/>
                  <a:pt x="5542313" y="354566"/>
                </a:cubicBezTo>
                <a:lnTo>
                  <a:pt x="5524126" y="472000"/>
                </a:lnTo>
                <a:lnTo>
                  <a:pt x="5522170" y="473782"/>
                </a:lnTo>
                <a:cubicBezTo>
                  <a:pt x="5517847" y="482008"/>
                  <a:pt x="5518682" y="487340"/>
                  <a:pt x="5521798" y="491380"/>
                </a:cubicBezTo>
                <a:lnTo>
                  <a:pt x="5536419" y="531675"/>
                </a:lnTo>
                <a:lnTo>
                  <a:pt x="5533435" y="536015"/>
                </a:lnTo>
                <a:lnTo>
                  <a:pt x="5538088" y="572092"/>
                </a:lnTo>
                <a:lnTo>
                  <a:pt x="5536061" y="572511"/>
                </a:lnTo>
                <a:cubicBezTo>
                  <a:pt x="5531611" y="574271"/>
                  <a:pt x="5528529" y="577121"/>
                  <a:pt x="5528218" y="582332"/>
                </a:cubicBezTo>
                <a:cubicBezTo>
                  <a:pt x="5498002" y="573171"/>
                  <a:pt x="5516262" y="585107"/>
                  <a:pt x="5518011" y="601285"/>
                </a:cubicBezTo>
                <a:cubicBezTo>
                  <a:pt x="5508838" y="617831"/>
                  <a:pt x="5480684" y="666964"/>
                  <a:pt x="5473174" y="681608"/>
                </a:cubicBezTo>
                <a:cubicBezTo>
                  <a:pt x="5473102" y="684122"/>
                  <a:pt x="5473033" y="686637"/>
                  <a:pt x="5472963" y="689151"/>
                </a:cubicBezTo>
                <a:lnTo>
                  <a:pt x="5472485" y="689289"/>
                </a:lnTo>
                <a:cubicBezTo>
                  <a:pt x="5471434" y="690905"/>
                  <a:pt x="5470986" y="693376"/>
                  <a:pt x="5471326" y="697222"/>
                </a:cubicBezTo>
                <a:cubicBezTo>
                  <a:pt x="5471606" y="703992"/>
                  <a:pt x="5471884" y="710761"/>
                  <a:pt x="5472164" y="717531"/>
                </a:cubicBezTo>
                <a:lnTo>
                  <a:pt x="5468891" y="722494"/>
                </a:lnTo>
                <a:lnTo>
                  <a:pt x="5463081" y="724368"/>
                </a:lnTo>
                <a:lnTo>
                  <a:pt x="5446981" y="752692"/>
                </a:lnTo>
                <a:cubicBezTo>
                  <a:pt x="5454691" y="764380"/>
                  <a:pt x="5422719" y="808083"/>
                  <a:pt x="5417190" y="816346"/>
                </a:cubicBezTo>
                <a:lnTo>
                  <a:pt x="5388958" y="889417"/>
                </a:lnTo>
                <a:cubicBezTo>
                  <a:pt x="5320491" y="969963"/>
                  <a:pt x="5321907" y="1005331"/>
                  <a:pt x="5307044" y="1063288"/>
                </a:cubicBezTo>
                <a:cubicBezTo>
                  <a:pt x="5313332" y="1111028"/>
                  <a:pt x="5317096" y="1110140"/>
                  <a:pt x="5303837" y="1157176"/>
                </a:cubicBezTo>
                <a:cubicBezTo>
                  <a:pt x="5301103" y="1192124"/>
                  <a:pt x="5301884" y="1197232"/>
                  <a:pt x="5286494" y="1210776"/>
                </a:cubicBezTo>
                <a:lnTo>
                  <a:pt x="5282463" y="1301993"/>
                </a:lnTo>
                <a:lnTo>
                  <a:pt x="5252235" y="1360879"/>
                </a:lnTo>
                <a:lnTo>
                  <a:pt x="5244497" y="1404045"/>
                </a:lnTo>
                <a:lnTo>
                  <a:pt x="5223823" y="1429568"/>
                </a:lnTo>
                <a:lnTo>
                  <a:pt x="5224851" y="1430305"/>
                </a:lnTo>
                <a:cubicBezTo>
                  <a:pt x="5226697" y="1432466"/>
                  <a:pt x="5214738" y="1459891"/>
                  <a:pt x="5212394" y="1463304"/>
                </a:cubicBezTo>
                <a:cubicBezTo>
                  <a:pt x="5209912" y="1477394"/>
                  <a:pt x="5213027" y="1501295"/>
                  <a:pt x="5209958" y="1514846"/>
                </a:cubicBezTo>
                <a:lnTo>
                  <a:pt x="5206417" y="1519731"/>
                </a:lnTo>
                <a:lnTo>
                  <a:pt x="5206640" y="1519929"/>
                </a:lnTo>
                <a:cubicBezTo>
                  <a:pt x="5206490" y="1521210"/>
                  <a:pt x="5209710" y="1543635"/>
                  <a:pt x="5207632" y="1546022"/>
                </a:cubicBezTo>
                <a:lnTo>
                  <a:pt x="5212030" y="1578752"/>
                </a:lnTo>
                <a:cubicBezTo>
                  <a:pt x="5206147" y="1605585"/>
                  <a:pt x="5226381" y="1622803"/>
                  <a:pt x="5203533" y="1647555"/>
                </a:cubicBezTo>
                <a:cubicBezTo>
                  <a:pt x="5198128" y="1672675"/>
                  <a:pt x="5203213" y="1694404"/>
                  <a:pt x="5190877" y="1715685"/>
                </a:cubicBezTo>
                <a:cubicBezTo>
                  <a:pt x="5196815" y="1724301"/>
                  <a:pt x="5198098" y="1732435"/>
                  <a:pt x="5184235" y="1740358"/>
                </a:cubicBezTo>
                <a:cubicBezTo>
                  <a:pt x="5182625" y="1763793"/>
                  <a:pt x="5198368" y="1769422"/>
                  <a:pt x="5181475" y="1784314"/>
                </a:cubicBezTo>
                <a:cubicBezTo>
                  <a:pt x="5205987" y="1797417"/>
                  <a:pt x="5195246" y="1798221"/>
                  <a:pt x="5185845" y="1804434"/>
                </a:cubicBezTo>
                <a:lnTo>
                  <a:pt x="5185068" y="1805316"/>
                </a:lnTo>
                <a:lnTo>
                  <a:pt x="5188593" y="1807109"/>
                </a:lnTo>
                <a:lnTo>
                  <a:pt x="5185920" y="1821003"/>
                </a:lnTo>
                <a:lnTo>
                  <a:pt x="5183543" y="1824832"/>
                </a:lnTo>
                <a:cubicBezTo>
                  <a:pt x="5182284" y="1827468"/>
                  <a:pt x="5181937" y="1829219"/>
                  <a:pt x="5182235" y="1830429"/>
                </a:cubicBezTo>
                <a:lnTo>
                  <a:pt x="5182525" y="1830569"/>
                </a:lnTo>
                <a:lnTo>
                  <a:pt x="5180663" y="1835810"/>
                </a:lnTo>
                <a:cubicBezTo>
                  <a:pt x="5176779" y="1844665"/>
                  <a:pt x="5172297" y="1853278"/>
                  <a:pt x="5167452" y="1861483"/>
                </a:cubicBezTo>
                <a:cubicBezTo>
                  <a:pt x="5179827" y="1866643"/>
                  <a:pt x="5166788" y="1884999"/>
                  <a:pt x="5174266" y="1892417"/>
                </a:cubicBezTo>
                <a:lnTo>
                  <a:pt x="5189262" y="1895114"/>
                </a:lnTo>
                <a:lnTo>
                  <a:pt x="5187100" y="1899379"/>
                </a:lnTo>
                <a:lnTo>
                  <a:pt x="5180471" y="1907867"/>
                </a:lnTo>
                <a:cubicBezTo>
                  <a:pt x="5179609" y="1909162"/>
                  <a:pt x="5179647" y="1909994"/>
                  <a:pt x="5181361" y="1910265"/>
                </a:cubicBezTo>
                <a:cubicBezTo>
                  <a:pt x="5180995" y="1914884"/>
                  <a:pt x="5177893" y="1930292"/>
                  <a:pt x="5178268" y="1935584"/>
                </a:cubicBezTo>
                <a:lnTo>
                  <a:pt x="5183619" y="1942021"/>
                </a:lnTo>
                <a:lnTo>
                  <a:pt x="5184480" y="1945112"/>
                </a:lnTo>
                <a:lnTo>
                  <a:pt x="5172776" y="1961162"/>
                </a:lnTo>
                <a:lnTo>
                  <a:pt x="5168513" y="1969445"/>
                </a:lnTo>
                <a:lnTo>
                  <a:pt x="5126597" y="2024270"/>
                </a:lnTo>
                <a:lnTo>
                  <a:pt x="5119528" y="2107942"/>
                </a:lnTo>
                <a:cubicBezTo>
                  <a:pt x="5089290" y="2138038"/>
                  <a:pt x="5110415" y="2159228"/>
                  <a:pt x="5110356" y="2193455"/>
                </a:cubicBezTo>
                <a:cubicBezTo>
                  <a:pt x="5101302" y="2220953"/>
                  <a:pt x="5110381" y="2224200"/>
                  <a:pt x="5104992" y="2260088"/>
                </a:cubicBezTo>
                <a:cubicBezTo>
                  <a:pt x="5096504" y="2291744"/>
                  <a:pt x="5078225" y="2299003"/>
                  <a:pt x="5059439" y="2335735"/>
                </a:cubicBezTo>
                <a:cubicBezTo>
                  <a:pt x="5029465" y="2329020"/>
                  <a:pt x="5058046" y="2407546"/>
                  <a:pt x="5022061" y="2408995"/>
                </a:cubicBezTo>
                <a:cubicBezTo>
                  <a:pt x="5023289" y="2413465"/>
                  <a:pt x="5019654" y="2441580"/>
                  <a:pt x="5022253" y="2445869"/>
                </a:cubicBezTo>
                <a:cubicBezTo>
                  <a:pt x="5022440" y="2449625"/>
                  <a:pt x="5011241" y="2492743"/>
                  <a:pt x="5011426" y="2496499"/>
                </a:cubicBezTo>
                <a:lnTo>
                  <a:pt x="4994224" y="2549900"/>
                </a:lnTo>
                <a:cubicBezTo>
                  <a:pt x="4992353" y="2564757"/>
                  <a:pt x="4998952" y="2582253"/>
                  <a:pt x="4995245" y="2596456"/>
                </a:cubicBezTo>
                <a:lnTo>
                  <a:pt x="4988570" y="2606088"/>
                </a:lnTo>
                <a:cubicBezTo>
                  <a:pt x="4988504" y="2615842"/>
                  <a:pt x="4988436" y="2625597"/>
                  <a:pt x="4988371" y="2635351"/>
                </a:cubicBezTo>
                <a:lnTo>
                  <a:pt x="4983212" y="2665666"/>
                </a:lnTo>
                <a:lnTo>
                  <a:pt x="4968234" y="2715895"/>
                </a:lnTo>
                <a:lnTo>
                  <a:pt x="4975888" y="2725052"/>
                </a:lnTo>
                <a:lnTo>
                  <a:pt x="4980195" y="2726489"/>
                </a:lnTo>
                <a:lnTo>
                  <a:pt x="4976218" y="2740278"/>
                </a:lnTo>
                <a:lnTo>
                  <a:pt x="4980571" y="2751112"/>
                </a:lnTo>
                <a:lnTo>
                  <a:pt x="4973893" y="2760208"/>
                </a:lnTo>
                <a:lnTo>
                  <a:pt x="4979005" y="2790136"/>
                </a:lnTo>
                <a:lnTo>
                  <a:pt x="4986137" y="2804183"/>
                </a:lnTo>
                <a:cubicBezTo>
                  <a:pt x="4986150" y="2811409"/>
                  <a:pt x="4986162" y="2818634"/>
                  <a:pt x="4986175" y="2825860"/>
                </a:cubicBezTo>
                <a:cubicBezTo>
                  <a:pt x="4987474" y="2843788"/>
                  <a:pt x="4992871" y="2886513"/>
                  <a:pt x="4993936" y="2911749"/>
                </a:cubicBezTo>
                <a:cubicBezTo>
                  <a:pt x="4993313" y="2946689"/>
                  <a:pt x="4980300" y="2954448"/>
                  <a:pt x="4992563" y="2977278"/>
                </a:cubicBezTo>
                <a:cubicBezTo>
                  <a:pt x="4985688" y="2983455"/>
                  <a:pt x="4982051" y="2987749"/>
                  <a:pt x="4980516" y="2991092"/>
                </a:cubicBezTo>
                <a:cubicBezTo>
                  <a:pt x="4975910" y="3001119"/>
                  <a:pt x="4990216" y="3002537"/>
                  <a:pt x="4992801" y="3020247"/>
                </a:cubicBezTo>
                <a:cubicBezTo>
                  <a:pt x="4998517" y="3032637"/>
                  <a:pt x="5013148" y="3051512"/>
                  <a:pt x="5014805" y="3065434"/>
                </a:cubicBezTo>
                <a:cubicBezTo>
                  <a:pt x="4998836" y="3057428"/>
                  <a:pt x="5016840" y="3105196"/>
                  <a:pt x="5002733" y="3103777"/>
                </a:cubicBezTo>
                <a:cubicBezTo>
                  <a:pt x="5022381" y="3124610"/>
                  <a:pt x="4997365" y="3128169"/>
                  <a:pt x="5002941" y="3151828"/>
                </a:cubicBezTo>
                <a:cubicBezTo>
                  <a:pt x="5010264" y="3163902"/>
                  <a:pt x="5011356" y="3171780"/>
                  <a:pt x="5002883" y="3180546"/>
                </a:cubicBezTo>
                <a:cubicBezTo>
                  <a:pt x="5038586" y="3236545"/>
                  <a:pt x="5003723" y="3210316"/>
                  <a:pt x="5016711" y="3258677"/>
                </a:cubicBezTo>
                <a:lnTo>
                  <a:pt x="5017918" y="3262610"/>
                </a:lnTo>
                <a:lnTo>
                  <a:pt x="5011672" y="3277179"/>
                </a:lnTo>
                <a:lnTo>
                  <a:pt x="5009344" y="3278130"/>
                </a:lnTo>
                <a:lnTo>
                  <a:pt x="5026770" y="3325671"/>
                </a:lnTo>
                <a:lnTo>
                  <a:pt x="5024571" y="3332072"/>
                </a:lnTo>
                <a:lnTo>
                  <a:pt x="5041705" y="3362948"/>
                </a:lnTo>
                <a:lnTo>
                  <a:pt x="5047477" y="3378959"/>
                </a:lnTo>
                <a:lnTo>
                  <a:pt x="5060758" y="3407057"/>
                </a:lnTo>
                <a:lnTo>
                  <a:pt x="5058968" y="3409825"/>
                </a:lnTo>
                <a:lnTo>
                  <a:pt x="5062667" y="3415218"/>
                </a:lnTo>
                <a:lnTo>
                  <a:pt x="5060928" y="3419880"/>
                </a:lnTo>
                <a:lnTo>
                  <a:pt x="5062923" y="3424545"/>
                </a:lnTo>
                <a:cubicBezTo>
                  <a:pt x="5063537" y="3433967"/>
                  <a:pt x="5063494" y="3466028"/>
                  <a:pt x="5064623" y="3476412"/>
                </a:cubicBezTo>
                <a:lnTo>
                  <a:pt x="5069684" y="3486850"/>
                </a:lnTo>
                <a:lnTo>
                  <a:pt x="5063339" y="3496391"/>
                </a:lnTo>
                <a:lnTo>
                  <a:pt x="5070139" y="3531201"/>
                </a:lnTo>
                <a:lnTo>
                  <a:pt x="5079896" y="3542019"/>
                </a:lnTo>
                <a:lnTo>
                  <a:pt x="5087540" y="3552249"/>
                </a:lnTo>
                <a:lnTo>
                  <a:pt x="5087902" y="3553678"/>
                </a:lnTo>
                <a:lnTo>
                  <a:pt x="5091509" y="3568021"/>
                </a:lnTo>
                <a:lnTo>
                  <a:pt x="5091934" y="3569719"/>
                </a:lnTo>
                <a:lnTo>
                  <a:pt x="5089362" y="3586412"/>
                </a:lnTo>
                <a:lnTo>
                  <a:pt x="5092358" y="3597336"/>
                </a:lnTo>
                <a:lnTo>
                  <a:pt x="5084254" y="3606007"/>
                </a:lnTo>
                <a:cubicBezTo>
                  <a:pt x="5084262" y="3617747"/>
                  <a:pt x="5084273" y="3629488"/>
                  <a:pt x="5084281" y="3641228"/>
                </a:cubicBezTo>
                <a:lnTo>
                  <a:pt x="5091848" y="3653088"/>
                </a:lnTo>
                <a:lnTo>
                  <a:pt x="5097436" y="3664114"/>
                </a:lnTo>
                <a:cubicBezTo>
                  <a:pt x="5097463" y="3664599"/>
                  <a:pt x="5097491" y="3665084"/>
                  <a:pt x="5097518" y="3665569"/>
                </a:cubicBezTo>
                <a:cubicBezTo>
                  <a:pt x="5097915" y="3672776"/>
                  <a:pt x="5096966" y="3688591"/>
                  <a:pt x="5099829" y="3707357"/>
                </a:cubicBezTo>
                <a:cubicBezTo>
                  <a:pt x="5100505" y="3724716"/>
                  <a:pt x="5118078" y="3760234"/>
                  <a:pt x="5114696" y="3778166"/>
                </a:cubicBezTo>
                <a:cubicBezTo>
                  <a:pt x="5141627" y="3845122"/>
                  <a:pt x="5125427" y="3821305"/>
                  <a:pt x="5135379" y="3878222"/>
                </a:cubicBezTo>
                <a:cubicBezTo>
                  <a:pt x="5161519" y="3905047"/>
                  <a:pt x="5125417" y="4015047"/>
                  <a:pt x="5130138" y="4048117"/>
                </a:cubicBezTo>
                <a:cubicBezTo>
                  <a:pt x="5081804" y="4192084"/>
                  <a:pt x="5096262" y="4158987"/>
                  <a:pt x="5090040" y="4219510"/>
                </a:cubicBezTo>
                <a:cubicBezTo>
                  <a:pt x="5104553" y="4280033"/>
                  <a:pt x="5065380" y="4345686"/>
                  <a:pt x="5092812" y="4411258"/>
                </a:cubicBezTo>
                <a:cubicBezTo>
                  <a:pt x="5090630" y="4437329"/>
                  <a:pt x="5083878" y="4473140"/>
                  <a:pt x="5084599" y="4488531"/>
                </a:cubicBezTo>
                <a:cubicBezTo>
                  <a:pt x="5084423" y="4505410"/>
                  <a:pt x="5084248" y="4522289"/>
                  <a:pt x="5084072" y="4539168"/>
                </a:cubicBezTo>
                <a:cubicBezTo>
                  <a:pt x="5072114" y="4567830"/>
                  <a:pt x="5064305" y="4588197"/>
                  <a:pt x="5068936" y="4625153"/>
                </a:cubicBezTo>
                <a:cubicBezTo>
                  <a:pt x="5077433" y="4662889"/>
                  <a:pt x="5065899" y="4679357"/>
                  <a:pt x="5059114" y="4733115"/>
                </a:cubicBezTo>
                <a:cubicBezTo>
                  <a:pt x="5068687" y="4752352"/>
                  <a:pt x="5055370" y="4832308"/>
                  <a:pt x="5037209" y="4844323"/>
                </a:cubicBezTo>
                <a:cubicBezTo>
                  <a:pt x="5033444" y="4857054"/>
                  <a:pt x="5040194" y="4871554"/>
                  <a:pt x="5020638" y="4877992"/>
                </a:cubicBezTo>
                <a:cubicBezTo>
                  <a:pt x="4997151" y="4888353"/>
                  <a:pt x="5034418" y="4931200"/>
                  <a:pt x="5006413" y="4925805"/>
                </a:cubicBezTo>
                <a:cubicBezTo>
                  <a:pt x="5031964" y="4956261"/>
                  <a:pt x="4982840" y="4982633"/>
                  <a:pt x="4971037" y="5009272"/>
                </a:cubicBezTo>
                <a:cubicBezTo>
                  <a:pt x="4973259" y="5034036"/>
                  <a:pt x="4968375" y="5053859"/>
                  <a:pt x="4963105" y="5111369"/>
                </a:cubicBezTo>
                <a:cubicBezTo>
                  <a:pt x="4973224" y="5141336"/>
                  <a:pt x="4937413" y="5161742"/>
                  <a:pt x="4976341" y="5210876"/>
                </a:cubicBezTo>
                <a:cubicBezTo>
                  <a:pt x="4972455" y="5212581"/>
                  <a:pt x="4977054" y="5227501"/>
                  <a:pt x="4980617" y="5269726"/>
                </a:cubicBezTo>
                <a:cubicBezTo>
                  <a:pt x="4984182" y="5311951"/>
                  <a:pt x="4990390" y="5400671"/>
                  <a:pt x="4997733" y="5464225"/>
                </a:cubicBezTo>
                <a:cubicBezTo>
                  <a:pt x="5001765" y="5536542"/>
                  <a:pt x="4990225" y="5517959"/>
                  <a:pt x="5001400" y="5594585"/>
                </a:cubicBezTo>
                <a:cubicBezTo>
                  <a:pt x="4999908" y="5619318"/>
                  <a:pt x="4974042" y="5647975"/>
                  <a:pt x="4983700" y="5667896"/>
                </a:cubicBezTo>
                <a:cubicBezTo>
                  <a:pt x="4976834" y="5696311"/>
                  <a:pt x="4975579" y="5738356"/>
                  <a:pt x="4968506" y="5769225"/>
                </a:cubicBezTo>
                <a:cubicBezTo>
                  <a:pt x="4968926" y="5787258"/>
                  <a:pt x="4969344" y="5805291"/>
                  <a:pt x="4969765" y="5823324"/>
                </a:cubicBezTo>
                <a:cubicBezTo>
                  <a:pt x="4966122" y="5853058"/>
                  <a:pt x="4965608" y="5838948"/>
                  <a:pt x="4966129" y="5862699"/>
                </a:cubicBezTo>
                <a:lnTo>
                  <a:pt x="4970695" y="5906467"/>
                </a:lnTo>
                <a:lnTo>
                  <a:pt x="4991568" y="5939847"/>
                </a:lnTo>
                <a:cubicBezTo>
                  <a:pt x="4998848" y="5955713"/>
                  <a:pt x="4974731" y="5940131"/>
                  <a:pt x="4986815" y="5973994"/>
                </a:cubicBezTo>
                <a:cubicBezTo>
                  <a:pt x="4961187" y="5997051"/>
                  <a:pt x="4983444" y="6032039"/>
                  <a:pt x="4987776" y="6089693"/>
                </a:cubicBezTo>
                <a:lnTo>
                  <a:pt x="4991621" y="6224938"/>
                </a:lnTo>
                <a:cubicBezTo>
                  <a:pt x="4988442" y="6270972"/>
                  <a:pt x="5008962" y="6317522"/>
                  <a:pt x="5017157" y="6370251"/>
                </a:cubicBezTo>
                <a:cubicBezTo>
                  <a:pt x="5025353" y="6422980"/>
                  <a:pt x="5039938" y="6490855"/>
                  <a:pt x="5040797" y="6541313"/>
                </a:cubicBezTo>
                <a:cubicBezTo>
                  <a:pt x="5039898" y="6576319"/>
                  <a:pt x="5031912" y="6591883"/>
                  <a:pt x="5045375" y="6640957"/>
                </a:cubicBezTo>
                <a:cubicBezTo>
                  <a:pt x="5057505" y="6669536"/>
                  <a:pt x="5052276" y="6675394"/>
                  <a:pt x="5058442" y="6705297"/>
                </a:cubicBezTo>
                <a:cubicBezTo>
                  <a:pt x="5057367" y="6727133"/>
                  <a:pt x="5067901" y="6732087"/>
                  <a:pt x="5071125" y="6759582"/>
                </a:cubicBezTo>
                <a:cubicBezTo>
                  <a:pt x="5055614" y="6796071"/>
                  <a:pt x="5051656" y="6769544"/>
                  <a:pt x="5069172" y="6817746"/>
                </a:cubicBezTo>
                <a:cubicBezTo>
                  <a:pt x="5060956" y="6828354"/>
                  <a:pt x="5064525" y="6836369"/>
                  <a:pt x="5072322" y="6843646"/>
                </a:cubicBezTo>
                <a:lnTo>
                  <a:pt x="5091388" y="6857998"/>
                </a:lnTo>
                <a:lnTo>
                  <a:pt x="6096000" y="6857998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Tekstiruutu 9">
            <a:extLst>
              <a:ext uri="{FF2B5EF4-FFF2-40B4-BE49-F238E27FC236}">
                <a16:creationId xmlns:a16="http://schemas.microsoft.com/office/drawing/2014/main" id="{0AA9639B-B7E2-44C5-9CA4-50187E024E5F}"/>
              </a:ext>
            </a:extLst>
          </p:cNvPr>
          <p:cNvSpPr txBox="1"/>
          <p:nvPr/>
        </p:nvSpPr>
        <p:spPr>
          <a:xfrm>
            <a:off x="838200" y="609600"/>
            <a:ext cx="3958652" cy="13308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7500" lnSpcReduction="20000"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fi-FI" sz="3600" dirty="0">
                <a:solidFill>
                  <a:srgbClr val="EC008C"/>
                </a:solidFill>
                <a:latin typeface="Myriad Pro Semibold" charset="0"/>
                <a:ea typeface="Myriad Pro Semibold" charset="0"/>
                <a:cs typeface="Myriad Pro Semibold" charset="0"/>
              </a:rPr>
              <a:t>5</a:t>
            </a:r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 Proteiinit ovat solun toiminnan keskeisimpiä molekyylejä</a:t>
            </a:r>
            <a:endParaRPr lang="en-US" sz="3600" kern="1200" dirty="0">
              <a:solidFill>
                <a:schemeClr val="tx1"/>
              </a:solidFill>
              <a:latin typeface="Myriad Pro Semibold"/>
              <a:ea typeface="+mj-ea"/>
              <a:cs typeface="+mj-cs"/>
            </a:endParaRP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9D1B725A-9F7F-4A5F-A8A5-52289C013BB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5804351" y="989351"/>
            <a:ext cx="4680630" cy="5272593"/>
          </a:xfrm>
          <a:prstGeom prst="rect">
            <a:avLst/>
          </a:prstGeom>
        </p:spPr>
      </p:pic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1322754" y="1522820"/>
            <a:ext cx="2748041" cy="3601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graphicFrame>
        <p:nvGraphicFramePr>
          <p:cNvPr id="8" name="Tekstiruutu 5">
            <a:extLst>
              <a:ext uri="{FF2B5EF4-FFF2-40B4-BE49-F238E27FC236}">
                <a16:creationId xmlns:a16="http://schemas.microsoft.com/office/drawing/2014/main" id="{B936F7B1-E20A-3AF0-9D08-1FF5768027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70452600"/>
              </p:ext>
            </p:extLst>
          </p:nvPr>
        </p:nvGraphicFramePr>
        <p:xfrm>
          <a:off x="862366" y="2194102"/>
          <a:ext cx="3484782" cy="39085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7240257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i 5" hidden="1">
            <a:extLst>
              <a:ext uri="{FF2B5EF4-FFF2-40B4-BE49-F238E27FC236}">
                <a16:creationId xmlns:a16="http://schemas.microsoft.com/office/drawing/2014/main" id="{E1BF22A5-5A57-4AF6-B247-2D8B493D9B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186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kti 5" hidden="1">
                        <a:extLst>
                          <a:ext uri="{FF2B5EF4-FFF2-40B4-BE49-F238E27FC236}">
                            <a16:creationId xmlns:a16="http://schemas.microsoft.com/office/drawing/2014/main" id="{E1BF22A5-5A57-4AF6-B247-2D8B493D9B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 algn="ctr"/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Proteiineilla on neljä rakennetasoa</a:t>
            </a:r>
            <a:endParaRPr lang="fi-FI" sz="3600" dirty="0"/>
          </a:p>
        </p:txBody>
      </p:sp>
      <p:graphicFrame>
        <p:nvGraphicFramePr>
          <p:cNvPr id="8" name="Sisällön paikkamerkki 7">
            <a:extLst>
              <a:ext uri="{FF2B5EF4-FFF2-40B4-BE49-F238E27FC236}">
                <a16:creationId xmlns:a16="http://schemas.microsoft.com/office/drawing/2014/main" id="{311B8604-8FEE-42BB-AF19-CDBE2DDB3F1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51805561"/>
              </p:ext>
            </p:extLst>
          </p:nvPr>
        </p:nvGraphicFramePr>
        <p:xfrm>
          <a:off x="838200" y="2169792"/>
          <a:ext cx="10515600" cy="38970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CF47ABF3-D808-437C-99C9-B7CE14174BFD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226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2" name="Rectangle 81">
            <a:extLst>
              <a:ext uri="{FF2B5EF4-FFF2-40B4-BE49-F238E27FC236}">
                <a16:creationId xmlns:a16="http://schemas.microsoft.com/office/drawing/2014/main" id="{1A95671B-3CC6-4792-9114-B74FAEA224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kstiruutu 9">
            <a:extLst>
              <a:ext uri="{FF2B5EF4-FFF2-40B4-BE49-F238E27FC236}">
                <a16:creationId xmlns:a16="http://schemas.microsoft.com/office/drawing/2014/main" id="{0AA9639B-B7E2-44C5-9CA4-50187E024E5F}"/>
              </a:ext>
            </a:extLst>
          </p:cNvPr>
          <p:cNvSpPr txBox="1"/>
          <p:nvPr/>
        </p:nvSpPr>
        <p:spPr>
          <a:xfrm>
            <a:off x="835155" y="552906"/>
            <a:ext cx="5165936" cy="167490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Proteiineilla</a:t>
            </a:r>
            <a:r>
              <a:rPr lang="en-US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on </a:t>
            </a: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neljä</a:t>
            </a:r>
            <a:r>
              <a:rPr lang="en-US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rakennetasoa</a:t>
            </a:r>
            <a:endParaRPr lang="en-US" sz="3600" kern="1200" dirty="0">
              <a:solidFill>
                <a:schemeClr val="tx1"/>
              </a:solidFill>
              <a:latin typeface="Myriad Pro Semibold"/>
              <a:ea typeface="+mj-ea"/>
              <a:cs typeface="+mj-cs"/>
            </a:endParaRPr>
          </a:p>
        </p:txBody>
      </p:sp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1322754" y="1522820"/>
            <a:ext cx="2748041" cy="3601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graphicFrame>
        <p:nvGraphicFramePr>
          <p:cNvPr id="8" name="Tekstiruutu 5">
            <a:extLst>
              <a:ext uri="{FF2B5EF4-FFF2-40B4-BE49-F238E27FC236}">
                <a16:creationId xmlns:a16="http://schemas.microsoft.com/office/drawing/2014/main" id="{B936F7B1-E20A-3AF0-9D08-1FF5768027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61499251"/>
              </p:ext>
            </p:extLst>
          </p:nvPr>
        </p:nvGraphicFramePr>
        <p:xfrm>
          <a:off x="6190911" y="685367"/>
          <a:ext cx="5396488" cy="16749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85B57FB7-2763-4CB3-8031-671DAB07796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7695" y="2761638"/>
            <a:ext cx="10408185" cy="3562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532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i 5" hidden="1">
            <a:extLst>
              <a:ext uri="{FF2B5EF4-FFF2-40B4-BE49-F238E27FC236}">
                <a16:creationId xmlns:a16="http://schemas.microsoft.com/office/drawing/2014/main" id="{E1BF22A5-5A57-4AF6-B247-2D8B493D9B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3134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kti 5" hidden="1">
                        <a:extLst>
                          <a:ext uri="{FF2B5EF4-FFF2-40B4-BE49-F238E27FC236}">
                            <a16:creationId xmlns:a16="http://schemas.microsoft.com/office/drawing/2014/main" id="{E1BF22A5-5A57-4AF6-B247-2D8B493D9B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 algn="ctr"/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Entsyymit ovat solun aineenvaihduntareaktioita nopeuttavia proteiineja</a:t>
            </a:r>
            <a:endParaRPr lang="fi-FI" sz="3600" dirty="0"/>
          </a:p>
        </p:txBody>
      </p:sp>
      <p:graphicFrame>
        <p:nvGraphicFramePr>
          <p:cNvPr id="8" name="Sisällön paikkamerkki 7">
            <a:extLst>
              <a:ext uri="{FF2B5EF4-FFF2-40B4-BE49-F238E27FC236}">
                <a16:creationId xmlns:a16="http://schemas.microsoft.com/office/drawing/2014/main" id="{311B8604-8FEE-42BB-AF19-CDBE2DDB3F1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17330781"/>
              </p:ext>
            </p:extLst>
          </p:nvPr>
        </p:nvGraphicFramePr>
        <p:xfrm>
          <a:off x="838200" y="2169792"/>
          <a:ext cx="10515600" cy="38970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CF47ABF3-D808-437C-99C9-B7CE14174BFD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23837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kstiruutu 9">
            <a:extLst>
              <a:ext uri="{FF2B5EF4-FFF2-40B4-BE49-F238E27FC236}">
                <a16:creationId xmlns:a16="http://schemas.microsoft.com/office/drawing/2014/main" id="{0AA9639B-B7E2-44C5-9CA4-50187E024E5F}"/>
              </a:ext>
            </a:extLst>
          </p:cNvPr>
          <p:cNvSpPr txBox="1"/>
          <p:nvPr/>
        </p:nvSpPr>
        <p:spPr>
          <a:xfrm>
            <a:off x="838200" y="550728"/>
            <a:ext cx="9962213" cy="13308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fi-FI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Jokainen entsyymi katalysoi vain tiettyä reaktiota</a:t>
            </a:r>
            <a:endParaRPr lang="en-US" sz="3600" kern="1200" dirty="0">
              <a:solidFill>
                <a:schemeClr val="tx1"/>
              </a:solidFill>
              <a:latin typeface="Myriad Pro Semibold"/>
              <a:ea typeface="+mj-ea"/>
              <a:cs typeface="+mj-cs"/>
            </a:endParaRP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9D1B725A-9F7F-4A5F-A8A5-52289C013BB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4951816" y="2194102"/>
            <a:ext cx="7066000" cy="2733803"/>
          </a:xfrm>
          <a:prstGeom prst="rect">
            <a:avLst/>
          </a:prstGeom>
        </p:spPr>
      </p:pic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1322754" y="1522820"/>
            <a:ext cx="2748041" cy="3601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graphicFrame>
        <p:nvGraphicFramePr>
          <p:cNvPr id="8" name="Tekstiruutu 5">
            <a:extLst>
              <a:ext uri="{FF2B5EF4-FFF2-40B4-BE49-F238E27FC236}">
                <a16:creationId xmlns:a16="http://schemas.microsoft.com/office/drawing/2014/main" id="{B936F7B1-E20A-3AF0-9D08-1FF5768027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99214398"/>
              </p:ext>
            </p:extLst>
          </p:nvPr>
        </p:nvGraphicFramePr>
        <p:xfrm>
          <a:off x="862366" y="1940439"/>
          <a:ext cx="3484782" cy="39085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5672482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9" name="Rectangle 58">
            <a:extLst>
              <a:ext uri="{FF2B5EF4-FFF2-40B4-BE49-F238E27FC236}">
                <a16:creationId xmlns:a16="http://schemas.microsoft.com/office/drawing/2014/main" id="{131BAD53-4E89-4F62-BBB7-26359763ED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62756DA2-40EB-4C6F-B962-5822FFB54F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5653438" cy="6858000"/>
          </a:xfrm>
          <a:custGeom>
            <a:avLst/>
            <a:gdLst>
              <a:gd name="connsiteX0" fmla="*/ 0 w 6096000"/>
              <a:gd name="connsiteY0" fmla="*/ 0 h 6858000"/>
              <a:gd name="connsiteX1" fmla="*/ 5567517 w 6096000"/>
              <a:gd name="connsiteY1" fmla="*/ 0 h 6858000"/>
              <a:gd name="connsiteX2" fmla="*/ 5566938 w 6096000"/>
              <a:gd name="connsiteY2" fmla="*/ 1705 h 6858000"/>
              <a:gd name="connsiteX3" fmla="*/ 5551594 w 6096000"/>
              <a:gd name="connsiteY3" fmla="*/ 17287 h 6858000"/>
              <a:gd name="connsiteX4" fmla="*/ 5545641 w 6096000"/>
              <a:gd name="connsiteY4" fmla="*/ 130336 h 6858000"/>
              <a:gd name="connsiteX5" fmla="*/ 5538289 w 6096000"/>
              <a:gd name="connsiteY5" fmla="*/ 187093 h 6858000"/>
              <a:gd name="connsiteX6" fmla="*/ 5545790 w 6096000"/>
              <a:gd name="connsiteY6" fmla="*/ 265704 h 6858000"/>
              <a:gd name="connsiteX7" fmla="*/ 5542313 w 6096000"/>
              <a:gd name="connsiteY7" fmla="*/ 354566 h 6858000"/>
              <a:gd name="connsiteX8" fmla="*/ 5524126 w 6096000"/>
              <a:gd name="connsiteY8" fmla="*/ 472000 h 6858000"/>
              <a:gd name="connsiteX9" fmla="*/ 5522170 w 6096000"/>
              <a:gd name="connsiteY9" fmla="*/ 473782 h 6858000"/>
              <a:gd name="connsiteX10" fmla="*/ 5521798 w 6096000"/>
              <a:gd name="connsiteY10" fmla="*/ 491380 h 6858000"/>
              <a:gd name="connsiteX11" fmla="*/ 5536419 w 6096000"/>
              <a:gd name="connsiteY11" fmla="*/ 531675 h 6858000"/>
              <a:gd name="connsiteX12" fmla="*/ 5533435 w 6096000"/>
              <a:gd name="connsiteY12" fmla="*/ 536015 h 6858000"/>
              <a:gd name="connsiteX13" fmla="*/ 5538088 w 6096000"/>
              <a:gd name="connsiteY13" fmla="*/ 572092 h 6858000"/>
              <a:gd name="connsiteX14" fmla="*/ 5536061 w 6096000"/>
              <a:gd name="connsiteY14" fmla="*/ 572511 h 6858000"/>
              <a:gd name="connsiteX15" fmla="*/ 5528218 w 6096000"/>
              <a:gd name="connsiteY15" fmla="*/ 582332 h 6858000"/>
              <a:gd name="connsiteX16" fmla="*/ 5518011 w 6096000"/>
              <a:gd name="connsiteY16" fmla="*/ 601285 h 6858000"/>
              <a:gd name="connsiteX17" fmla="*/ 5473174 w 6096000"/>
              <a:gd name="connsiteY17" fmla="*/ 681608 h 6858000"/>
              <a:gd name="connsiteX18" fmla="*/ 5472963 w 6096000"/>
              <a:gd name="connsiteY18" fmla="*/ 689151 h 6858000"/>
              <a:gd name="connsiteX19" fmla="*/ 5472485 w 6096000"/>
              <a:gd name="connsiteY19" fmla="*/ 689289 h 6858000"/>
              <a:gd name="connsiteX20" fmla="*/ 5471326 w 6096000"/>
              <a:gd name="connsiteY20" fmla="*/ 697222 h 6858000"/>
              <a:gd name="connsiteX21" fmla="*/ 5472164 w 6096000"/>
              <a:gd name="connsiteY21" fmla="*/ 717531 h 6858000"/>
              <a:gd name="connsiteX22" fmla="*/ 5468891 w 6096000"/>
              <a:gd name="connsiteY22" fmla="*/ 722494 h 6858000"/>
              <a:gd name="connsiteX23" fmla="*/ 5463081 w 6096000"/>
              <a:gd name="connsiteY23" fmla="*/ 724368 h 6858000"/>
              <a:gd name="connsiteX24" fmla="*/ 5446981 w 6096000"/>
              <a:gd name="connsiteY24" fmla="*/ 752692 h 6858000"/>
              <a:gd name="connsiteX25" fmla="*/ 5417190 w 6096000"/>
              <a:gd name="connsiteY25" fmla="*/ 816346 h 6858000"/>
              <a:gd name="connsiteX26" fmla="*/ 5388958 w 6096000"/>
              <a:gd name="connsiteY26" fmla="*/ 889417 h 6858000"/>
              <a:gd name="connsiteX27" fmla="*/ 5307044 w 6096000"/>
              <a:gd name="connsiteY27" fmla="*/ 1063288 h 6858000"/>
              <a:gd name="connsiteX28" fmla="*/ 5303837 w 6096000"/>
              <a:gd name="connsiteY28" fmla="*/ 1157176 h 6858000"/>
              <a:gd name="connsiteX29" fmla="*/ 5286494 w 6096000"/>
              <a:gd name="connsiteY29" fmla="*/ 1210776 h 6858000"/>
              <a:gd name="connsiteX30" fmla="*/ 5282463 w 6096000"/>
              <a:gd name="connsiteY30" fmla="*/ 1301993 h 6858000"/>
              <a:gd name="connsiteX31" fmla="*/ 5252235 w 6096000"/>
              <a:gd name="connsiteY31" fmla="*/ 1360879 h 6858000"/>
              <a:gd name="connsiteX32" fmla="*/ 5244497 w 6096000"/>
              <a:gd name="connsiteY32" fmla="*/ 1404045 h 6858000"/>
              <a:gd name="connsiteX33" fmla="*/ 5223823 w 6096000"/>
              <a:gd name="connsiteY33" fmla="*/ 1429568 h 6858000"/>
              <a:gd name="connsiteX34" fmla="*/ 5224851 w 6096000"/>
              <a:gd name="connsiteY34" fmla="*/ 1430305 h 6858000"/>
              <a:gd name="connsiteX35" fmla="*/ 5212394 w 6096000"/>
              <a:gd name="connsiteY35" fmla="*/ 1463304 h 6858000"/>
              <a:gd name="connsiteX36" fmla="*/ 5209958 w 6096000"/>
              <a:gd name="connsiteY36" fmla="*/ 1514846 h 6858000"/>
              <a:gd name="connsiteX37" fmla="*/ 5206417 w 6096000"/>
              <a:gd name="connsiteY37" fmla="*/ 1519731 h 6858000"/>
              <a:gd name="connsiteX38" fmla="*/ 5206640 w 6096000"/>
              <a:gd name="connsiteY38" fmla="*/ 1519929 h 6858000"/>
              <a:gd name="connsiteX39" fmla="*/ 5207632 w 6096000"/>
              <a:gd name="connsiteY39" fmla="*/ 1546022 h 6858000"/>
              <a:gd name="connsiteX40" fmla="*/ 5212030 w 6096000"/>
              <a:gd name="connsiteY40" fmla="*/ 1578752 h 6858000"/>
              <a:gd name="connsiteX41" fmla="*/ 5203533 w 6096000"/>
              <a:gd name="connsiteY41" fmla="*/ 1647555 h 6858000"/>
              <a:gd name="connsiteX42" fmla="*/ 5190877 w 6096000"/>
              <a:gd name="connsiteY42" fmla="*/ 1715685 h 6858000"/>
              <a:gd name="connsiteX43" fmla="*/ 5184235 w 6096000"/>
              <a:gd name="connsiteY43" fmla="*/ 1740358 h 6858000"/>
              <a:gd name="connsiteX44" fmla="*/ 5181475 w 6096000"/>
              <a:gd name="connsiteY44" fmla="*/ 1784314 h 6858000"/>
              <a:gd name="connsiteX45" fmla="*/ 5185845 w 6096000"/>
              <a:gd name="connsiteY45" fmla="*/ 1804434 h 6858000"/>
              <a:gd name="connsiteX46" fmla="*/ 5185068 w 6096000"/>
              <a:gd name="connsiteY46" fmla="*/ 1805316 h 6858000"/>
              <a:gd name="connsiteX47" fmla="*/ 5188593 w 6096000"/>
              <a:gd name="connsiteY47" fmla="*/ 1807109 h 6858000"/>
              <a:gd name="connsiteX48" fmla="*/ 5185920 w 6096000"/>
              <a:gd name="connsiteY48" fmla="*/ 1821003 h 6858000"/>
              <a:gd name="connsiteX49" fmla="*/ 5183543 w 6096000"/>
              <a:gd name="connsiteY49" fmla="*/ 1824832 h 6858000"/>
              <a:gd name="connsiteX50" fmla="*/ 5182235 w 6096000"/>
              <a:gd name="connsiteY50" fmla="*/ 1830429 h 6858000"/>
              <a:gd name="connsiteX51" fmla="*/ 5182525 w 6096000"/>
              <a:gd name="connsiteY51" fmla="*/ 1830569 h 6858000"/>
              <a:gd name="connsiteX52" fmla="*/ 5180663 w 6096000"/>
              <a:gd name="connsiteY52" fmla="*/ 1835810 h 6858000"/>
              <a:gd name="connsiteX53" fmla="*/ 5167452 w 6096000"/>
              <a:gd name="connsiteY53" fmla="*/ 1861483 h 6858000"/>
              <a:gd name="connsiteX54" fmla="*/ 5174266 w 6096000"/>
              <a:gd name="connsiteY54" fmla="*/ 1892417 h 6858000"/>
              <a:gd name="connsiteX55" fmla="*/ 5189262 w 6096000"/>
              <a:gd name="connsiteY55" fmla="*/ 1895114 h 6858000"/>
              <a:gd name="connsiteX56" fmla="*/ 5187100 w 6096000"/>
              <a:gd name="connsiteY56" fmla="*/ 1899379 h 6858000"/>
              <a:gd name="connsiteX57" fmla="*/ 5180471 w 6096000"/>
              <a:gd name="connsiteY57" fmla="*/ 1907867 h 6858000"/>
              <a:gd name="connsiteX58" fmla="*/ 5181361 w 6096000"/>
              <a:gd name="connsiteY58" fmla="*/ 1910265 h 6858000"/>
              <a:gd name="connsiteX59" fmla="*/ 5178268 w 6096000"/>
              <a:gd name="connsiteY59" fmla="*/ 1935584 h 6858000"/>
              <a:gd name="connsiteX60" fmla="*/ 5183619 w 6096000"/>
              <a:gd name="connsiteY60" fmla="*/ 1942021 h 6858000"/>
              <a:gd name="connsiteX61" fmla="*/ 5184480 w 6096000"/>
              <a:gd name="connsiteY61" fmla="*/ 1945112 h 6858000"/>
              <a:gd name="connsiteX62" fmla="*/ 5172776 w 6096000"/>
              <a:gd name="connsiteY62" fmla="*/ 1961162 h 6858000"/>
              <a:gd name="connsiteX63" fmla="*/ 5168513 w 6096000"/>
              <a:gd name="connsiteY63" fmla="*/ 1969445 h 6858000"/>
              <a:gd name="connsiteX64" fmla="*/ 5126597 w 6096000"/>
              <a:gd name="connsiteY64" fmla="*/ 2024270 h 6858000"/>
              <a:gd name="connsiteX65" fmla="*/ 5119528 w 6096000"/>
              <a:gd name="connsiteY65" fmla="*/ 2107942 h 6858000"/>
              <a:gd name="connsiteX66" fmla="*/ 5110356 w 6096000"/>
              <a:gd name="connsiteY66" fmla="*/ 2193455 h 6858000"/>
              <a:gd name="connsiteX67" fmla="*/ 5104992 w 6096000"/>
              <a:gd name="connsiteY67" fmla="*/ 2260088 h 6858000"/>
              <a:gd name="connsiteX68" fmla="*/ 5059439 w 6096000"/>
              <a:gd name="connsiteY68" fmla="*/ 2335735 h 6858000"/>
              <a:gd name="connsiteX69" fmla="*/ 5022061 w 6096000"/>
              <a:gd name="connsiteY69" fmla="*/ 2408995 h 6858000"/>
              <a:gd name="connsiteX70" fmla="*/ 5022253 w 6096000"/>
              <a:gd name="connsiteY70" fmla="*/ 2445869 h 6858000"/>
              <a:gd name="connsiteX71" fmla="*/ 5011426 w 6096000"/>
              <a:gd name="connsiteY71" fmla="*/ 2496499 h 6858000"/>
              <a:gd name="connsiteX72" fmla="*/ 4994224 w 6096000"/>
              <a:gd name="connsiteY72" fmla="*/ 2549900 h 6858000"/>
              <a:gd name="connsiteX73" fmla="*/ 4995245 w 6096000"/>
              <a:gd name="connsiteY73" fmla="*/ 2596456 h 6858000"/>
              <a:gd name="connsiteX74" fmla="*/ 4988570 w 6096000"/>
              <a:gd name="connsiteY74" fmla="*/ 2606088 h 6858000"/>
              <a:gd name="connsiteX75" fmla="*/ 4988371 w 6096000"/>
              <a:gd name="connsiteY75" fmla="*/ 2635351 h 6858000"/>
              <a:gd name="connsiteX76" fmla="*/ 4983212 w 6096000"/>
              <a:gd name="connsiteY76" fmla="*/ 2665666 h 6858000"/>
              <a:gd name="connsiteX77" fmla="*/ 4968234 w 6096000"/>
              <a:gd name="connsiteY77" fmla="*/ 2715895 h 6858000"/>
              <a:gd name="connsiteX78" fmla="*/ 4975888 w 6096000"/>
              <a:gd name="connsiteY78" fmla="*/ 2725052 h 6858000"/>
              <a:gd name="connsiteX79" fmla="*/ 4980195 w 6096000"/>
              <a:gd name="connsiteY79" fmla="*/ 2726489 h 6858000"/>
              <a:gd name="connsiteX80" fmla="*/ 4976218 w 6096000"/>
              <a:gd name="connsiteY80" fmla="*/ 2740278 h 6858000"/>
              <a:gd name="connsiteX81" fmla="*/ 4980571 w 6096000"/>
              <a:gd name="connsiteY81" fmla="*/ 2751112 h 6858000"/>
              <a:gd name="connsiteX82" fmla="*/ 4973893 w 6096000"/>
              <a:gd name="connsiteY82" fmla="*/ 2760208 h 6858000"/>
              <a:gd name="connsiteX83" fmla="*/ 4979005 w 6096000"/>
              <a:gd name="connsiteY83" fmla="*/ 2790136 h 6858000"/>
              <a:gd name="connsiteX84" fmla="*/ 4986137 w 6096000"/>
              <a:gd name="connsiteY84" fmla="*/ 2804183 h 6858000"/>
              <a:gd name="connsiteX85" fmla="*/ 4986175 w 6096000"/>
              <a:gd name="connsiteY85" fmla="*/ 2825860 h 6858000"/>
              <a:gd name="connsiteX86" fmla="*/ 4993936 w 6096000"/>
              <a:gd name="connsiteY86" fmla="*/ 2911749 h 6858000"/>
              <a:gd name="connsiteX87" fmla="*/ 4992563 w 6096000"/>
              <a:gd name="connsiteY87" fmla="*/ 2977278 h 6858000"/>
              <a:gd name="connsiteX88" fmla="*/ 4980516 w 6096000"/>
              <a:gd name="connsiteY88" fmla="*/ 2991092 h 6858000"/>
              <a:gd name="connsiteX89" fmla="*/ 4992801 w 6096000"/>
              <a:gd name="connsiteY89" fmla="*/ 3020247 h 6858000"/>
              <a:gd name="connsiteX90" fmla="*/ 5014805 w 6096000"/>
              <a:gd name="connsiteY90" fmla="*/ 3065434 h 6858000"/>
              <a:gd name="connsiteX91" fmla="*/ 5002733 w 6096000"/>
              <a:gd name="connsiteY91" fmla="*/ 3103777 h 6858000"/>
              <a:gd name="connsiteX92" fmla="*/ 5002941 w 6096000"/>
              <a:gd name="connsiteY92" fmla="*/ 3151828 h 6858000"/>
              <a:gd name="connsiteX93" fmla="*/ 5002883 w 6096000"/>
              <a:gd name="connsiteY93" fmla="*/ 3180546 h 6858000"/>
              <a:gd name="connsiteX94" fmla="*/ 5016711 w 6096000"/>
              <a:gd name="connsiteY94" fmla="*/ 3258677 h 6858000"/>
              <a:gd name="connsiteX95" fmla="*/ 5017918 w 6096000"/>
              <a:gd name="connsiteY95" fmla="*/ 3262610 h 6858000"/>
              <a:gd name="connsiteX96" fmla="*/ 5011672 w 6096000"/>
              <a:gd name="connsiteY96" fmla="*/ 3277179 h 6858000"/>
              <a:gd name="connsiteX97" fmla="*/ 5009344 w 6096000"/>
              <a:gd name="connsiteY97" fmla="*/ 3278130 h 6858000"/>
              <a:gd name="connsiteX98" fmla="*/ 5026770 w 6096000"/>
              <a:gd name="connsiteY98" fmla="*/ 3325671 h 6858000"/>
              <a:gd name="connsiteX99" fmla="*/ 5024571 w 6096000"/>
              <a:gd name="connsiteY99" fmla="*/ 3332072 h 6858000"/>
              <a:gd name="connsiteX100" fmla="*/ 5041705 w 6096000"/>
              <a:gd name="connsiteY100" fmla="*/ 3362948 h 6858000"/>
              <a:gd name="connsiteX101" fmla="*/ 5047477 w 6096000"/>
              <a:gd name="connsiteY101" fmla="*/ 3378959 h 6858000"/>
              <a:gd name="connsiteX102" fmla="*/ 5060758 w 6096000"/>
              <a:gd name="connsiteY102" fmla="*/ 3407057 h 6858000"/>
              <a:gd name="connsiteX103" fmla="*/ 5058968 w 6096000"/>
              <a:gd name="connsiteY103" fmla="*/ 3409825 h 6858000"/>
              <a:gd name="connsiteX104" fmla="*/ 5062667 w 6096000"/>
              <a:gd name="connsiteY104" fmla="*/ 3415218 h 6858000"/>
              <a:gd name="connsiteX105" fmla="*/ 5060928 w 6096000"/>
              <a:gd name="connsiteY105" fmla="*/ 3419880 h 6858000"/>
              <a:gd name="connsiteX106" fmla="*/ 5062923 w 6096000"/>
              <a:gd name="connsiteY106" fmla="*/ 3424545 h 6858000"/>
              <a:gd name="connsiteX107" fmla="*/ 5064623 w 6096000"/>
              <a:gd name="connsiteY107" fmla="*/ 3476412 h 6858000"/>
              <a:gd name="connsiteX108" fmla="*/ 5069684 w 6096000"/>
              <a:gd name="connsiteY108" fmla="*/ 3486850 h 6858000"/>
              <a:gd name="connsiteX109" fmla="*/ 5063339 w 6096000"/>
              <a:gd name="connsiteY109" fmla="*/ 3496391 h 6858000"/>
              <a:gd name="connsiteX110" fmla="*/ 5070139 w 6096000"/>
              <a:gd name="connsiteY110" fmla="*/ 3531201 h 6858000"/>
              <a:gd name="connsiteX111" fmla="*/ 5079896 w 6096000"/>
              <a:gd name="connsiteY111" fmla="*/ 3542019 h 6858000"/>
              <a:gd name="connsiteX112" fmla="*/ 5087540 w 6096000"/>
              <a:gd name="connsiteY112" fmla="*/ 3552249 h 6858000"/>
              <a:gd name="connsiteX113" fmla="*/ 5087902 w 6096000"/>
              <a:gd name="connsiteY113" fmla="*/ 3553678 h 6858000"/>
              <a:gd name="connsiteX114" fmla="*/ 5091509 w 6096000"/>
              <a:gd name="connsiteY114" fmla="*/ 3568021 h 6858000"/>
              <a:gd name="connsiteX115" fmla="*/ 5091934 w 6096000"/>
              <a:gd name="connsiteY115" fmla="*/ 3569719 h 6858000"/>
              <a:gd name="connsiteX116" fmla="*/ 5089362 w 6096000"/>
              <a:gd name="connsiteY116" fmla="*/ 3586412 h 6858000"/>
              <a:gd name="connsiteX117" fmla="*/ 5092358 w 6096000"/>
              <a:gd name="connsiteY117" fmla="*/ 3597336 h 6858000"/>
              <a:gd name="connsiteX118" fmla="*/ 5084254 w 6096000"/>
              <a:gd name="connsiteY118" fmla="*/ 3606007 h 6858000"/>
              <a:gd name="connsiteX119" fmla="*/ 5084281 w 6096000"/>
              <a:gd name="connsiteY119" fmla="*/ 3641228 h 6858000"/>
              <a:gd name="connsiteX120" fmla="*/ 5091848 w 6096000"/>
              <a:gd name="connsiteY120" fmla="*/ 3653088 h 6858000"/>
              <a:gd name="connsiteX121" fmla="*/ 5097436 w 6096000"/>
              <a:gd name="connsiteY121" fmla="*/ 3664114 h 6858000"/>
              <a:gd name="connsiteX122" fmla="*/ 5097518 w 6096000"/>
              <a:gd name="connsiteY122" fmla="*/ 3665569 h 6858000"/>
              <a:gd name="connsiteX123" fmla="*/ 5099829 w 6096000"/>
              <a:gd name="connsiteY123" fmla="*/ 3707357 h 6858000"/>
              <a:gd name="connsiteX124" fmla="*/ 5114696 w 6096000"/>
              <a:gd name="connsiteY124" fmla="*/ 3778166 h 6858000"/>
              <a:gd name="connsiteX125" fmla="*/ 5135379 w 6096000"/>
              <a:gd name="connsiteY125" fmla="*/ 3878222 h 6858000"/>
              <a:gd name="connsiteX126" fmla="*/ 5130138 w 6096000"/>
              <a:gd name="connsiteY126" fmla="*/ 4048117 h 6858000"/>
              <a:gd name="connsiteX127" fmla="*/ 5090040 w 6096000"/>
              <a:gd name="connsiteY127" fmla="*/ 4219510 h 6858000"/>
              <a:gd name="connsiteX128" fmla="*/ 5092812 w 6096000"/>
              <a:gd name="connsiteY128" fmla="*/ 4411258 h 6858000"/>
              <a:gd name="connsiteX129" fmla="*/ 5084599 w 6096000"/>
              <a:gd name="connsiteY129" fmla="*/ 4488531 h 6858000"/>
              <a:gd name="connsiteX130" fmla="*/ 5084072 w 6096000"/>
              <a:gd name="connsiteY130" fmla="*/ 4539168 h 6858000"/>
              <a:gd name="connsiteX131" fmla="*/ 5068936 w 6096000"/>
              <a:gd name="connsiteY131" fmla="*/ 4625153 h 6858000"/>
              <a:gd name="connsiteX132" fmla="*/ 5059114 w 6096000"/>
              <a:gd name="connsiteY132" fmla="*/ 4733115 h 6858000"/>
              <a:gd name="connsiteX133" fmla="*/ 5037209 w 6096000"/>
              <a:gd name="connsiteY133" fmla="*/ 4844323 h 6858000"/>
              <a:gd name="connsiteX134" fmla="*/ 5020638 w 6096000"/>
              <a:gd name="connsiteY134" fmla="*/ 4877992 h 6858000"/>
              <a:gd name="connsiteX135" fmla="*/ 5006413 w 6096000"/>
              <a:gd name="connsiteY135" fmla="*/ 4925805 h 6858000"/>
              <a:gd name="connsiteX136" fmla="*/ 4971037 w 6096000"/>
              <a:gd name="connsiteY136" fmla="*/ 5009272 h 6858000"/>
              <a:gd name="connsiteX137" fmla="*/ 4963105 w 6096000"/>
              <a:gd name="connsiteY137" fmla="*/ 5111369 h 6858000"/>
              <a:gd name="connsiteX138" fmla="*/ 4976341 w 6096000"/>
              <a:gd name="connsiteY138" fmla="*/ 5210876 h 6858000"/>
              <a:gd name="connsiteX139" fmla="*/ 4980617 w 6096000"/>
              <a:gd name="connsiteY139" fmla="*/ 5269726 h 6858000"/>
              <a:gd name="connsiteX140" fmla="*/ 4997733 w 6096000"/>
              <a:gd name="connsiteY140" fmla="*/ 5464225 h 6858000"/>
              <a:gd name="connsiteX141" fmla="*/ 5001400 w 6096000"/>
              <a:gd name="connsiteY141" fmla="*/ 5594585 h 6858000"/>
              <a:gd name="connsiteX142" fmla="*/ 4983700 w 6096000"/>
              <a:gd name="connsiteY142" fmla="*/ 5667896 h 6858000"/>
              <a:gd name="connsiteX143" fmla="*/ 4968506 w 6096000"/>
              <a:gd name="connsiteY143" fmla="*/ 5769225 h 6858000"/>
              <a:gd name="connsiteX144" fmla="*/ 4969765 w 6096000"/>
              <a:gd name="connsiteY144" fmla="*/ 5823324 h 6858000"/>
              <a:gd name="connsiteX145" fmla="*/ 4966129 w 6096000"/>
              <a:gd name="connsiteY145" fmla="*/ 5862699 h 6858000"/>
              <a:gd name="connsiteX146" fmla="*/ 4970695 w 6096000"/>
              <a:gd name="connsiteY146" fmla="*/ 5906467 h 6858000"/>
              <a:gd name="connsiteX147" fmla="*/ 4991568 w 6096000"/>
              <a:gd name="connsiteY147" fmla="*/ 5939847 h 6858000"/>
              <a:gd name="connsiteX148" fmla="*/ 4986815 w 6096000"/>
              <a:gd name="connsiteY148" fmla="*/ 5973994 h 6858000"/>
              <a:gd name="connsiteX149" fmla="*/ 4987776 w 6096000"/>
              <a:gd name="connsiteY149" fmla="*/ 6089693 h 6858000"/>
              <a:gd name="connsiteX150" fmla="*/ 4991621 w 6096000"/>
              <a:gd name="connsiteY150" fmla="*/ 6224938 h 6858000"/>
              <a:gd name="connsiteX151" fmla="*/ 5017157 w 6096000"/>
              <a:gd name="connsiteY151" fmla="*/ 6370251 h 6858000"/>
              <a:gd name="connsiteX152" fmla="*/ 5040797 w 6096000"/>
              <a:gd name="connsiteY152" fmla="*/ 6541313 h 6858000"/>
              <a:gd name="connsiteX153" fmla="*/ 5045375 w 6096000"/>
              <a:gd name="connsiteY153" fmla="*/ 6640957 h 6858000"/>
              <a:gd name="connsiteX154" fmla="*/ 5058442 w 6096000"/>
              <a:gd name="connsiteY154" fmla="*/ 6705297 h 6858000"/>
              <a:gd name="connsiteX155" fmla="*/ 5071125 w 6096000"/>
              <a:gd name="connsiteY155" fmla="*/ 6759582 h 6858000"/>
              <a:gd name="connsiteX156" fmla="*/ 5069172 w 6096000"/>
              <a:gd name="connsiteY156" fmla="*/ 6817746 h 6858000"/>
              <a:gd name="connsiteX157" fmla="*/ 5072322 w 6096000"/>
              <a:gd name="connsiteY157" fmla="*/ 6843646 h 6858000"/>
              <a:gd name="connsiteX158" fmla="*/ 5091388 w 6096000"/>
              <a:gd name="connsiteY158" fmla="*/ 6857998 h 6858000"/>
              <a:gd name="connsiteX159" fmla="*/ 6096000 w 6096000"/>
              <a:gd name="connsiteY159" fmla="*/ 6857998 h 6858000"/>
              <a:gd name="connsiteX160" fmla="*/ 6096000 w 6096000"/>
              <a:gd name="connsiteY160" fmla="*/ 6858000 h 6858000"/>
              <a:gd name="connsiteX161" fmla="*/ 0 w 6096000"/>
              <a:gd name="connsiteY16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67517" y="0"/>
                </a:lnTo>
                <a:lnTo>
                  <a:pt x="5566938" y="1705"/>
                </a:lnTo>
                <a:cubicBezTo>
                  <a:pt x="5563126" y="8440"/>
                  <a:pt x="5558112" y="13784"/>
                  <a:pt x="5551594" y="17287"/>
                </a:cubicBezTo>
                <a:cubicBezTo>
                  <a:pt x="5562364" y="82036"/>
                  <a:pt x="5510349" y="69804"/>
                  <a:pt x="5545641" y="130336"/>
                </a:cubicBezTo>
                <a:cubicBezTo>
                  <a:pt x="5526953" y="117589"/>
                  <a:pt x="5536978" y="162458"/>
                  <a:pt x="5538289" y="187093"/>
                </a:cubicBezTo>
                <a:cubicBezTo>
                  <a:pt x="5536205" y="226511"/>
                  <a:pt x="5545722" y="205530"/>
                  <a:pt x="5545790" y="265704"/>
                </a:cubicBezTo>
                <a:cubicBezTo>
                  <a:pt x="5542296" y="317533"/>
                  <a:pt x="5543813" y="325288"/>
                  <a:pt x="5542313" y="354566"/>
                </a:cubicBezTo>
                <a:lnTo>
                  <a:pt x="5524126" y="472000"/>
                </a:lnTo>
                <a:lnTo>
                  <a:pt x="5522170" y="473782"/>
                </a:lnTo>
                <a:cubicBezTo>
                  <a:pt x="5517847" y="482008"/>
                  <a:pt x="5518682" y="487340"/>
                  <a:pt x="5521798" y="491380"/>
                </a:cubicBezTo>
                <a:lnTo>
                  <a:pt x="5536419" y="531675"/>
                </a:lnTo>
                <a:lnTo>
                  <a:pt x="5533435" y="536015"/>
                </a:lnTo>
                <a:lnTo>
                  <a:pt x="5538088" y="572092"/>
                </a:lnTo>
                <a:lnTo>
                  <a:pt x="5536061" y="572511"/>
                </a:lnTo>
                <a:cubicBezTo>
                  <a:pt x="5531611" y="574271"/>
                  <a:pt x="5528529" y="577121"/>
                  <a:pt x="5528218" y="582332"/>
                </a:cubicBezTo>
                <a:cubicBezTo>
                  <a:pt x="5498002" y="573171"/>
                  <a:pt x="5516262" y="585107"/>
                  <a:pt x="5518011" y="601285"/>
                </a:cubicBezTo>
                <a:cubicBezTo>
                  <a:pt x="5508838" y="617831"/>
                  <a:pt x="5480684" y="666964"/>
                  <a:pt x="5473174" y="681608"/>
                </a:cubicBezTo>
                <a:cubicBezTo>
                  <a:pt x="5473102" y="684122"/>
                  <a:pt x="5473033" y="686637"/>
                  <a:pt x="5472963" y="689151"/>
                </a:cubicBezTo>
                <a:lnTo>
                  <a:pt x="5472485" y="689289"/>
                </a:lnTo>
                <a:cubicBezTo>
                  <a:pt x="5471434" y="690905"/>
                  <a:pt x="5470986" y="693376"/>
                  <a:pt x="5471326" y="697222"/>
                </a:cubicBezTo>
                <a:cubicBezTo>
                  <a:pt x="5471606" y="703992"/>
                  <a:pt x="5471884" y="710761"/>
                  <a:pt x="5472164" y="717531"/>
                </a:cubicBezTo>
                <a:lnTo>
                  <a:pt x="5468891" y="722494"/>
                </a:lnTo>
                <a:lnTo>
                  <a:pt x="5463081" y="724368"/>
                </a:lnTo>
                <a:lnTo>
                  <a:pt x="5446981" y="752692"/>
                </a:lnTo>
                <a:cubicBezTo>
                  <a:pt x="5454691" y="764380"/>
                  <a:pt x="5422719" y="808083"/>
                  <a:pt x="5417190" y="816346"/>
                </a:cubicBezTo>
                <a:lnTo>
                  <a:pt x="5388958" y="889417"/>
                </a:lnTo>
                <a:cubicBezTo>
                  <a:pt x="5320491" y="969963"/>
                  <a:pt x="5321907" y="1005331"/>
                  <a:pt x="5307044" y="1063288"/>
                </a:cubicBezTo>
                <a:cubicBezTo>
                  <a:pt x="5313332" y="1111028"/>
                  <a:pt x="5317096" y="1110140"/>
                  <a:pt x="5303837" y="1157176"/>
                </a:cubicBezTo>
                <a:cubicBezTo>
                  <a:pt x="5301103" y="1192124"/>
                  <a:pt x="5301884" y="1197232"/>
                  <a:pt x="5286494" y="1210776"/>
                </a:cubicBezTo>
                <a:lnTo>
                  <a:pt x="5282463" y="1301993"/>
                </a:lnTo>
                <a:lnTo>
                  <a:pt x="5252235" y="1360879"/>
                </a:lnTo>
                <a:lnTo>
                  <a:pt x="5244497" y="1404045"/>
                </a:lnTo>
                <a:lnTo>
                  <a:pt x="5223823" y="1429568"/>
                </a:lnTo>
                <a:lnTo>
                  <a:pt x="5224851" y="1430305"/>
                </a:lnTo>
                <a:cubicBezTo>
                  <a:pt x="5226697" y="1432466"/>
                  <a:pt x="5214738" y="1459891"/>
                  <a:pt x="5212394" y="1463304"/>
                </a:cubicBezTo>
                <a:cubicBezTo>
                  <a:pt x="5209912" y="1477394"/>
                  <a:pt x="5213027" y="1501295"/>
                  <a:pt x="5209958" y="1514846"/>
                </a:cubicBezTo>
                <a:lnTo>
                  <a:pt x="5206417" y="1519731"/>
                </a:lnTo>
                <a:lnTo>
                  <a:pt x="5206640" y="1519929"/>
                </a:lnTo>
                <a:cubicBezTo>
                  <a:pt x="5206490" y="1521210"/>
                  <a:pt x="5209710" y="1543635"/>
                  <a:pt x="5207632" y="1546022"/>
                </a:cubicBezTo>
                <a:lnTo>
                  <a:pt x="5212030" y="1578752"/>
                </a:lnTo>
                <a:cubicBezTo>
                  <a:pt x="5206147" y="1605585"/>
                  <a:pt x="5226381" y="1622803"/>
                  <a:pt x="5203533" y="1647555"/>
                </a:cubicBezTo>
                <a:cubicBezTo>
                  <a:pt x="5198128" y="1672675"/>
                  <a:pt x="5203213" y="1694404"/>
                  <a:pt x="5190877" y="1715685"/>
                </a:cubicBezTo>
                <a:cubicBezTo>
                  <a:pt x="5196815" y="1724301"/>
                  <a:pt x="5198098" y="1732435"/>
                  <a:pt x="5184235" y="1740358"/>
                </a:cubicBezTo>
                <a:cubicBezTo>
                  <a:pt x="5182625" y="1763793"/>
                  <a:pt x="5198368" y="1769422"/>
                  <a:pt x="5181475" y="1784314"/>
                </a:cubicBezTo>
                <a:cubicBezTo>
                  <a:pt x="5205987" y="1797417"/>
                  <a:pt x="5195246" y="1798221"/>
                  <a:pt x="5185845" y="1804434"/>
                </a:cubicBezTo>
                <a:lnTo>
                  <a:pt x="5185068" y="1805316"/>
                </a:lnTo>
                <a:lnTo>
                  <a:pt x="5188593" y="1807109"/>
                </a:lnTo>
                <a:lnTo>
                  <a:pt x="5185920" y="1821003"/>
                </a:lnTo>
                <a:lnTo>
                  <a:pt x="5183543" y="1824832"/>
                </a:lnTo>
                <a:cubicBezTo>
                  <a:pt x="5182284" y="1827468"/>
                  <a:pt x="5181937" y="1829219"/>
                  <a:pt x="5182235" y="1830429"/>
                </a:cubicBezTo>
                <a:lnTo>
                  <a:pt x="5182525" y="1830569"/>
                </a:lnTo>
                <a:lnTo>
                  <a:pt x="5180663" y="1835810"/>
                </a:lnTo>
                <a:cubicBezTo>
                  <a:pt x="5176779" y="1844665"/>
                  <a:pt x="5172297" y="1853278"/>
                  <a:pt x="5167452" y="1861483"/>
                </a:cubicBezTo>
                <a:cubicBezTo>
                  <a:pt x="5179827" y="1866643"/>
                  <a:pt x="5166788" y="1884999"/>
                  <a:pt x="5174266" y="1892417"/>
                </a:cubicBezTo>
                <a:lnTo>
                  <a:pt x="5189262" y="1895114"/>
                </a:lnTo>
                <a:lnTo>
                  <a:pt x="5187100" y="1899379"/>
                </a:lnTo>
                <a:lnTo>
                  <a:pt x="5180471" y="1907867"/>
                </a:lnTo>
                <a:cubicBezTo>
                  <a:pt x="5179609" y="1909162"/>
                  <a:pt x="5179647" y="1909994"/>
                  <a:pt x="5181361" y="1910265"/>
                </a:cubicBezTo>
                <a:cubicBezTo>
                  <a:pt x="5180995" y="1914884"/>
                  <a:pt x="5177893" y="1930292"/>
                  <a:pt x="5178268" y="1935584"/>
                </a:cubicBezTo>
                <a:lnTo>
                  <a:pt x="5183619" y="1942021"/>
                </a:lnTo>
                <a:lnTo>
                  <a:pt x="5184480" y="1945112"/>
                </a:lnTo>
                <a:lnTo>
                  <a:pt x="5172776" y="1961162"/>
                </a:lnTo>
                <a:lnTo>
                  <a:pt x="5168513" y="1969445"/>
                </a:lnTo>
                <a:lnTo>
                  <a:pt x="5126597" y="2024270"/>
                </a:lnTo>
                <a:lnTo>
                  <a:pt x="5119528" y="2107942"/>
                </a:lnTo>
                <a:cubicBezTo>
                  <a:pt x="5089290" y="2138038"/>
                  <a:pt x="5110415" y="2159228"/>
                  <a:pt x="5110356" y="2193455"/>
                </a:cubicBezTo>
                <a:cubicBezTo>
                  <a:pt x="5101302" y="2220953"/>
                  <a:pt x="5110381" y="2224200"/>
                  <a:pt x="5104992" y="2260088"/>
                </a:cubicBezTo>
                <a:cubicBezTo>
                  <a:pt x="5096504" y="2291744"/>
                  <a:pt x="5078225" y="2299003"/>
                  <a:pt x="5059439" y="2335735"/>
                </a:cubicBezTo>
                <a:cubicBezTo>
                  <a:pt x="5029465" y="2329020"/>
                  <a:pt x="5058046" y="2407546"/>
                  <a:pt x="5022061" y="2408995"/>
                </a:cubicBezTo>
                <a:cubicBezTo>
                  <a:pt x="5023289" y="2413465"/>
                  <a:pt x="5019654" y="2441580"/>
                  <a:pt x="5022253" y="2445869"/>
                </a:cubicBezTo>
                <a:cubicBezTo>
                  <a:pt x="5022440" y="2449625"/>
                  <a:pt x="5011241" y="2492743"/>
                  <a:pt x="5011426" y="2496499"/>
                </a:cubicBezTo>
                <a:lnTo>
                  <a:pt x="4994224" y="2549900"/>
                </a:lnTo>
                <a:cubicBezTo>
                  <a:pt x="4992353" y="2564757"/>
                  <a:pt x="4998952" y="2582253"/>
                  <a:pt x="4995245" y="2596456"/>
                </a:cubicBezTo>
                <a:lnTo>
                  <a:pt x="4988570" y="2606088"/>
                </a:lnTo>
                <a:cubicBezTo>
                  <a:pt x="4988504" y="2615842"/>
                  <a:pt x="4988436" y="2625597"/>
                  <a:pt x="4988371" y="2635351"/>
                </a:cubicBezTo>
                <a:lnTo>
                  <a:pt x="4983212" y="2665666"/>
                </a:lnTo>
                <a:lnTo>
                  <a:pt x="4968234" y="2715895"/>
                </a:lnTo>
                <a:lnTo>
                  <a:pt x="4975888" y="2725052"/>
                </a:lnTo>
                <a:lnTo>
                  <a:pt x="4980195" y="2726489"/>
                </a:lnTo>
                <a:lnTo>
                  <a:pt x="4976218" y="2740278"/>
                </a:lnTo>
                <a:lnTo>
                  <a:pt x="4980571" y="2751112"/>
                </a:lnTo>
                <a:lnTo>
                  <a:pt x="4973893" y="2760208"/>
                </a:lnTo>
                <a:lnTo>
                  <a:pt x="4979005" y="2790136"/>
                </a:lnTo>
                <a:lnTo>
                  <a:pt x="4986137" y="2804183"/>
                </a:lnTo>
                <a:cubicBezTo>
                  <a:pt x="4986150" y="2811409"/>
                  <a:pt x="4986162" y="2818634"/>
                  <a:pt x="4986175" y="2825860"/>
                </a:cubicBezTo>
                <a:cubicBezTo>
                  <a:pt x="4987474" y="2843788"/>
                  <a:pt x="4992871" y="2886513"/>
                  <a:pt x="4993936" y="2911749"/>
                </a:cubicBezTo>
                <a:cubicBezTo>
                  <a:pt x="4993313" y="2946689"/>
                  <a:pt x="4980300" y="2954448"/>
                  <a:pt x="4992563" y="2977278"/>
                </a:cubicBezTo>
                <a:cubicBezTo>
                  <a:pt x="4985688" y="2983455"/>
                  <a:pt x="4982051" y="2987749"/>
                  <a:pt x="4980516" y="2991092"/>
                </a:cubicBezTo>
                <a:cubicBezTo>
                  <a:pt x="4975910" y="3001119"/>
                  <a:pt x="4990216" y="3002537"/>
                  <a:pt x="4992801" y="3020247"/>
                </a:cubicBezTo>
                <a:cubicBezTo>
                  <a:pt x="4998517" y="3032637"/>
                  <a:pt x="5013148" y="3051512"/>
                  <a:pt x="5014805" y="3065434"/>
                </a:cubicBezTo>
                <a:cubicBezTo>
                  <a:pt x="4998836" y="3057428"/>
                  <a:pt x="5016840" y="3105196"/>
                  <a:pt x="5002733" y="3103777"/>
                </a:cubicBezTo>
                <a:cubicBezTo>
                  <a:pt x="5022381" y="3124610"/>
                  <a:pt x="4997365" y="3128169"/>
                  <a:pt x="5002941" y="3151828"/>
                </a:cubicBezTo>
                <a:cubicBezTo>
                  <a:pt x="5010264" y="3163902"/>
                  <a:pt x="5011356" y="3171780"/>
                  <a:pt x="5002883" y="3180546"/>
                </a:cubicBezTo>
                <a:cubicBezTo>
                  <a:pt x="5038586" y="3236545"/>
                  <a:pt x="5003723" y="3210316"/>
                  <a:pt x="5016711" y="3258677"/>
                </a:cubicBezTo>
                <a:lnTo>
                  <a:pt x="5017918" y="3262610"/>
                </a:lnTo>
                <a:lnTo>
                  <a:pt x="5011672" y="3277179"/>
                </a:lnTo>
                <a:lnTo>
                  <a:pt x="5009344" y="3278130"/>
                </a:lnTo>
                <a:lnTo>
                  <a:pt x="5026770" y="3325671"/>
                </a:lnTo>
                <a:lnTo>
                  <a:pt x="5024571" y="3332072"/>
                </a:lnTo>
                <a:lnTo>
                  <a:pt x="5041705" y="3362948"/>
                </a:lnTo>
                <a:lnTo>
                  <a:pt x="5047477" y="3378959"/>
                </a:lnTo>
                <a:lnTo>
                  <a:pt x="5060758" y="3407057"/>
                </a:lnTo>
                <a:lnTo>
                  <a:pt x="5058968" y="3409825"/>
                </a:lnTo>
                <a:lnTo>
                  <a:pt x="5062667" y="3415218"/>
                </a:lnTo>
                <a:lnTo>
                  <a:pt x="5060928" y="3419880"/>
                </a:lnTo>
                <a:lnTo>
                  <a:pt x="5062923" y="3424545"/>
                </a:lnTo>
                <a:cubicBezTo>
                  <a:pt x="5063537" y="3433967"/>
                  <a:pt x="5063494" y="3466028"/>
                  <a:pt x="5064623" y="3476412"/>
                </a:cubicBezTo>
                <a:lnTo>
                  <a:pt x="5069684" y="3486850"/>
                </a:lnTo>
                <a:lnTo>
                  <a:pt x="5063339" y="3496391"/>
                </a:lnTo>
                <a:lnTo>
                  <a:pt x="5070139" y="3531201"/>
                </a:lnTo>
                <a:lnTo>
                  <a:pt x="5079896" y="3542019"/>
                </a:lnTo>
                <a:lnTo>
                  <a:pt x="5087540" y="3552249"/>
                </a:lnTo>
                <a:lnTo>
                  <a:pt x="5087902" y="3553678"/>
                </a:lnTo>
                <a:lnTo>
                  <a:pt x="5091509" y="3568021"/>
                </a:lnTo>
                <a:lnTo>
                  <a:pt x="5091934" y="3569719"/>
                </a:lnTo>
                <a:lnTo>
                  <a:pt x="5089362" y="3586412"/>
                </a:lnTo>
                <a:lnTo>
                  <a:pt x="5092358" y="3597336"/>
                </a:lnTo>
                <a:lnTo>
                  <a:pt x="5084254" y="3606007"/>
                </a:lnTo>
                <a:cubicBezTo>
                  <a:pt x="5084262" y="3617747"/>
                  <a:pt x="5084273" y="3629488"/>
                  <a:pt x="5084281" y="3641228"/>
                </a:cubicBezTo>
                <a:lnTo>
                  <a:pt x="5091848" y="3653088"/>
                </a:lnTo>
                <a:lnTo>
                  <a:pt x="5097436" y="3664114"/>
                </a:lnTo>
                <a:cubicBezTo>
                  <a:pt x="5097463" y="3664599"/>
                  <a:pt x="5097491" y="3665084"/>
                  <a:pt x="5097518" y="3665569"/>
                </a:cubicBezTo>
                <a:cubicBezTo>
                  <a:pt x="5097915" y="3672776"/>
                  <a:pt x="5096966" y="3688591"/>
                  <a:pt x="5099829" y="3707357"/>
                </a:cubicBezTo>
                <a:cubicBezTo>
                  <a:pt x="5100505" y="3724716"/>
                  <a:pt x="5118078" y="3760234"/>
                  <a:pt x="5114696" y="3778166"/>
                </a:cubicBezTo>
                <a:cubicBezTo>
                  <a:pt x="5141627" y="3845122"/>
                  <a:pt x="5125427" y="3821305"/>
                  <a:pt x="5135379" y="3878222"/>
                </a:cubicBezTo>
                <a:cubicBezTo>
                  <a:pt x="5161519" y="3905047"/>
                  <a:pt x="5125417" y="4015047"/>
                  <a:pt x="5130138" y="4048117"/>
                </a:cubicBezTo>
                <a:cubicBezTo>
                  <a:pt x="5081804" y="4192084"/>
                  <a:pt x="5096262" y="4158987"/>
                  <a:pt x="5090040" y="4219510"/>
                </a:cubicBezTo>
                <a:cubicBezTo>
                  <a:pt x="5104553" y="4280033"/>
                  <a:pt x="5065380" y="4345686"/>
                  <a:pt x="5092812" y="4411258"/>
                </a:cubicBezTo>
                <a:cubicBezTo>
                  <a:pt x="5090630" y="4437329"/>
                  <a:pt x="5083878" y="4473140"/>
                  <a:pt x="5084599" y="4488531"/>
                </a:cubicBezTo>
                <a:cubicBezTo>
                  <a:pt x="5084423" y="4505410"/>
                  <a:pt x="5084248" y="4522289"/>
                  <a:pt x="5084072" y="4539168"/>
                </a:cubicBezTo>
                <a:cubicBezTo>
                  <a:pt x="5072114" y="4567830"/>
                  <a:pt x="5064305" y="4588197"/>
                  <a:pt x="5068936" y="4625153"/>
                </a:cubicBezTo>
                <a:cubicBezTo>
                  <a:pt x="5077433" y="4662889"/>
                  <a:pt x="5065899" y="4679357"/>
                  <a:pt x="5059114" y="4733115"/>
                </a:cubicBezTo>
                <a:cubicBezTo>
                  <a:pt x="5068687" y="4752352"/>
                  <a:pt x="5055370" y="4832308"/>
                  <a:pt x="5037209" y="4844323"/>
                </a:cubicBezTo>
                <a:cubicBezTo>
                  <a:pt x="5033444" y="4857054"/>
                  <a:pt x="5040194" y="4871554"/>
                  <a:pt x="5020638" y="4877992"/>
                </a:cubicBezTo>
                <a:cubicBezTo>
                  <a:pt x="4997151" y="4888353"/>
                  <a:pt x="5034418" y="4931200"/>
                  <a:pt x="5006413" y="4925805"/>
                </a:cubicBezTo>
                <a:cubicBezTo>
                  <a:pt x="5031964" y="4956261"/>
                  <a:pt x="4982840" y="4982633"/>
                  <a:pt x="4971037" y="5009272"/>
                </a:cubicBezTo>
                <a:cubicBezTo>
                  <a:pt x="4973259" y="5034036"/>
                  <a:pt x="4968375" y="5053859"/>
                  <a:pt x="4963105" y="5111369"/>
                </a:cubicBezTo>
                <a:cubicBezTo>
                  <a:pt x="4973224" y="5141336"/>
                  <a:pt x="4937413" y="5161742"/>
                  <a:pt x="4976341" y="5210876"/>
                </a:cubicBezTo>
                <a:cubicBezTo>
                  <a:pt x="4972455" y="5212581"/>
                  <a:pt x="4977054" y="5227501"/>
                  <a:pt x="4980617" y="5269726"/>
                </a:cubicBezTo>
                <a:cubicBezTo>
                  <a:pt x="4984182" y="5311951"/>
                  <a:pt x="4990390" y="5400671"/>
                  <a:pt x="4997733" y="5464225"/>
                </a:cubicBezTo>
                <a:cubicBezTo>
                  <a:pt x="5001765" y="5536542"/>
                  <a:pt x="4990225" y="5517959"/>
                  <a:pt x="5001400" y="5594585"/>
                </a:cubicBezTo>
                <a:cubicBezTo>
                  <a:pt x="4999908" y="5619318"/>
                  <a:pt x="4974042" y="5647975"/>
                  <a:pt x="4983700" y="5667896"/>
                </a:cubicBezTo>
                <a:cubicBezTo>
                  <a:pt x="4976834" y="5696311"/>
                  <a:pt x="4975579" y="5738356"/>
                  <a:pt x="4968506" y="5769225"/>
                </a:cubicBezTo>
                <a:cubicBezTo>
                  <a:pt x="4968926" y="5787258"/>
                  <a:pt x="4969344" y="5805291"/>
                  <a:pt x="4969765" y="5823324"/>
                </a:cubicBezTo>
                <a:cubicBezTo>
                  <a:pt x="4966122" y="5853058"/>
                  <a:pt x="4965608" y="5838948"/>
                  <a:pt x="4966129" y="5862699"/>
                </a:cubicBezTo>
                <a:lnTo>
                  <a:pt x="4970695" y="5906467"/>
                </a:lnTo>
                <a:lnTo>
                  <a:pt x="4991568" y="5939847"/>
                </a:lnTo>
                <a:cubicBezTo>
                  <a:pt x="4998848" y="5955713"/>
                  <a:pt x="4974731" y="5940131"/>
                  <a:pt x="4986815" y="5973994"/>
                </a:cubicBezTo>
                <a:cubicBezTo>
                  <a:pt x="4961187" y="5997051"/>
                  <a:pt x="4983444" y="6032039"/>
                  <a:pt x="4987776" y="6089693"/>
                </a:cubicBezTo>
                <a:lnTo>
                  <a:pt x="4991621" y="6224938"/>
                </a:lnTo>
                <a:cubicBezTo>
                  <a:pt x="4988442" y="6270972"/>
                  <a:pt x="5008962" y="6317522"/>
                  <a:pt x="5017157" y="6370251"/>
                </a:cubicBezTo>
                <a:cubicBezTo>
                  <a:pt x="5025353" y="6422980"/>
                  <a:pt x="5039938" y="6490855"/>
                  <a:pt x="5040797" y="6541313"/>
                </a:cubicBezTo>
                <a:cubicBezTo>
                  <a:pt x="5039898" y="6576319"/>
                  <a:pt x="5031912" y="6591883"/>
                  <a:pt x="5045375" y="6640957"/>
                </a:cubicBezTo>
                <a:cubicBezTo>
                  <a:pt x="5057505" y="6669536"/>
                  <a:pt x="5052276" y="6675394"/>
                  <a:pt x="5058442" y="6705297"/>
                </a:cubicBezTo>
                <a:cubicBezTo>
                  <a:pt x="5057367" y="6727133"/>
                  <a:pt x="5067901" y="6732087"/>
                  <a:pt x="5071125" y="6759582"/>
                </a:cubicBezTo>
                <a:cubicBezTo>
                  <a:pt x="5055614" y="6796071"/>
                  <a:pt x="5051656" y="6769544"/>
                  <a:pt x="5069172" y="6817746"/>
                </a:cubicBezTo>
                <a:cubicBezTo>
                  <a:pt x="5060956" y="6828354"/>
                  <a:pt x="5064525" y="6836369"/>
                  <a:pt x="5072322" y="6843646"/>
                </a:cubicBezTo>
                <a:lnTo>
                  <a:pt x="5091388" y="6857998"/>
                </a:lnTo>
                <a:lnTo>
                  <a:pt x="6096000" y="6857998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9D1B725A-9F7F-4A5F-A8A5-52289C013BB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6452681" y="339450"/>
            <a:ext cx="4171775" cy="2984328"/>
          </a:xfrm>
          <a:prstGeom prst="rect">
            <a:avLst/>
          </a:prstGeom>
        </p:spPr>
      </p:pic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1322754" y="1522820"/>
            <a:ext cx="2748041" cy="3601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graphicFrame>
        <p:nvGraphicFramePr>
          <p:cNvPr id="8" name="Tekstiruutu 5">
            <a:extLst>
              <a:ext uri="{FF2B5EF4-FFF2-40B4-BE49-F238E27FC236}">
                <a16:creationId xmlns:a16="http://schemas.microsoft.com/office/drawing/2014/main" id="{B936F7B1-E20A-3AF0-9D08-1FF5768027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16876202"/>
              </p:ext>
            </p:extLst>
          </p:nvPr>
        </p:nvGraphicFramePr>
        <p:xfrm>
          <a:off x="432638" y="809767"/>
          <a:ext cx="3847054" cy="33898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2" name="Kuva 1">
            <a:extLst>
              <a:ext uri="{FF2B5EF4-FFF2-40B4-BE49-F238E27FC236}">
                <a16:creationId xmlns:a16="http://schemas.microsoft.com/office/drawing/2014/main" id="{B7FD1809-B3FB-4955-90C4-A5D38303060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594604" y="3646379"/>
            <a:ext cx="4029852" cy="279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50269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9" name="Rectangle 58">
            <a:extLst>
              <a:ext uri="{FF2B5EF4-FFF2-40B4-BE49-F238E27FC236}">
                <a16:creationId xmlns:a16="http://schemas.microsoft.com/office/drawing/2014/main" id="{131BAD53-4E89-4F62-BBB7-26359763ED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62756DA2-40EB-4C6F-B962-5822FFB54F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5653438" cy="6858000"/>
          </a:xfrm>
          <a:custGeom>
            <a:avLst/>
            <a:gdLst>
              <a:gd name="connsiteX0" fmla="*/ 0 w 6096000"/>
              <a:gd name="connsiteY0" fmla="*/ 0 h 6858000"/>
              <a:gd name="connsiteX1" fmla="*/ 5567517 w 6096000"/>
              <a:gd name="connsiteY1" fmla="*/ 0 h 6858000"/>
              <a:gd name="connsiteX2" fmla="*/ 5566938 w 6096000"/>
              <a:gd name="connsiteY2" fmla="*/ 1705 h 6858000"/>
              <a:gd name="connsiteX3" fmla="*/ 5551594 w 6096000"/>
              <a:gd name="connsiteY3" fmla="*/ 17287 h 6858000"/>
              <a:gd name="connsiteX4" fmla="*/ 5545641 w 6096000"/>
              <a:gd name="connsiteY4" fmla="*/ 130336 h 6858000"/>
              <a:gd name="connsiteX5" fmla="*/ 5538289 w 6096000"/>
              <a:gd name="connsiteY5" fmla="*/ 187093 h 6858000"/>
              <a:gd name="connsiteX6" fmla="*/ 5545790 w 6096000"/>
              <a:gd name="connsiteY6" fmla="*/ 265704 h 6858000"/>
              <a:gd name="connsiteX7" fmla="*/ 5542313 w 6096000"/>
              <a:gd name="connsiteY7" fmla="*/ 354566 h 6858000"/>
              <a:gd name="connsiteX8" fmla="*/ 5524126 w 6096000"/>
              <a:gd name="connsiteY8" fmla="*/ 472000 h 6858000"/>
              <a:gd name="connsiteX9" fmla="*/ 5522170 w 6096000"/>
              <a:gd name="connsiteY9" fmla="*/ 473782 h 6858000"/>
              <a:gd name="connsiteX10" fmla="*/ 5521798 w 6096000"/>
              <a:gd name="connsiteY10" fmla="*/ 491380 h 6858000"/>
              <a:gd name="connsiteX11" fmla="*/ 5536419 w 6096000"/>
              <a:gd name="connsiteY11" fmla="*/ 531675 h 6858000"/>
              <a:gd name="connsiteX12" fmla="*/ 5533435 w 6096000"/>
              <a:gd name="connsiteY12" fmla="*/ 536015 h 6858000"/>
              <a:gd name="connsiteX13" fmla="*/ 5538088 w 6096000"/>
              <a:gd name="connsiteY13" fmla="*/ 572092 h 6858000"/>
              <a:gd name="connsiteX14" fmla="*/ 5536061 w 6096000"/>
              <a:gd name="connsiteY14" fmla="*/ 572511 h 6858000"/>
              <a:gd name="connsiteX15" fmla="*/ 5528218 w 6096000"/>
              <a:gd name="connsiteY15" fmla="*/ 582332 h 6858000"/>
              <a:gd name="connsiteX16" fmla="*/ 5518011 w 6096000"/>
              <a:gd name="connsiteY16" fmla="*/ 601285 h 6858000"/>
              <a:gd name="connsiteX17" fmla="*/ 5473174 w 6096000"/>
              <a:gd name="connsiteY17" fmla="*/ 681608 h 6858000"/>
              <a:gd name="connsiteX18" fmla="*/ 5472963 w 6096000"/>
              <a:gd name="connsiteY18" fmla="*/ 689151 h 6858000"/>
              <a:gd name="connsiteX19" fmla="*/ 5472485 w 6096000"/>
              <a:gd name="connsiteY19" fmla="*/ 689289 h 6858000"/>
              <a:gd name="connsiteX20" fmla="*/ 5471326 w 6096000"/>
              <a:gd name="connsiteY20" fmla="*/ 697222 h 6858000"/>
              <a:gd name="connsiteX21" fmla="*/ 5472164 w 6096000"/>
              <a:gd name="connsiteY21" fmla="*/ 717531 h 6858000"/>
              <a:gd name="connsiteX22" fmla="*/ 5468891 w 6096000"/>
              <a:gd name="connsiteY22" fmla="*/ 722494 h 6858000"/>
              <a:gd name="connsiteX23" fmla="*/ 5463081 w 6096000"/>
              <a:gd name="connsiteY23" fmla="*/ 724368 h 6858000"/>
              <a:gd name="connsiteX24" fmla="*/ 5446981 w 6096000"/>
              <a:gd name="connsiteY24" fmla="*/ 752692 h 6858000"/>
              <a:gd name="connsiteX25" fmla="*/ 5417190 w 6096000"/>
              <a:gd name="connsiteY25" fmla="*/ 816346 h 6858000"/>
              <a:gd name="connsiteX26" fmla="*/ 5388958 w 6096000"/>
              <a:gd name="connsiteY26" fmla="*/ 889417 h 6858000"/>
              <a:gd name="connsiteX27" fmla="*/ 5307044 w 6096000"/>
              <a:gd name="connsiteY27" fmla="*/ 1063288 h 6858000"/>
              <a:gd name="connsiteX28" fmla="*/ 5303837 w 6096000"/>
              <a:gd name="connsiteY28" fmla="*/ 1157176 h 6858000"/>
              <a:gd name="connsiteX29" fmla="*/ 5286494 w 6096000"/>
              <a:gd name="connsiteY29" fmla="*/ 1210776 h 6858000"/>
              <a:gd name="connsiteX30" fmla="*/ 5282463 w 6096000"/>
              <a:gd name="connsiteY30" fmla="*/ 1301993 h 6858000"/>
              <a:gd name="connsiteX31" fmla="*/ 5252235 w 6096000"/>
              <a:gd name="connsiteY31" fmla="*/ 1360879 h 6858000"/>
              <a:gd name="connsiteX32" fmla="*/ 5244497 w 6096000"/>
              <a:gd name="connsiteY32" fmla="*/ 1404045 h 6858000"/>
              <a:gd name="connsiteX33" fmla="*/ 5223823 w 6096000"/>
              <a:gd name="connsiteY33" fmla="*/ 1429568 h 6858000"/>
              <a:gd name="connsiteX34" fmla="*/ 5224851 w 6096000"/>
              <a:gd name="connsiteY34" fmla="*/ 1430305 h 6858000"/>
              <a:gd name="connsiteX35" fmla="*/ 5212394 w 6096000"/>
              <a:gd name="connsiteY35" fmla="*/ 1463304 h 6858000"/>
              <a:gd name="connsiteX36" fmla="*/ 5209958 w 6096000"/>
              <a:gd name="connsiteY36" fmla="*/ 1514846 h 6858000"/>
              <a:gd name="connsiteX37" fmla="*/ 5206417 w 6096000"/>
              <a:gd name="connsiteY37" fmla="*/ 1519731 h 6858000"/>
              <a:gd name="connsiteX38" fmla="*/ 5206640 w 6096000"/>
              <a:gd name="connsiteY38" fmla="*/ 1519929 h 6858000"/>
              <a:gd name="connsiteX39" fmla="*/ 5207632 w 6096000"/>
              <a:gd name="connsiteY39" fmla="*/ 1546022 h 6858000"/>
              <a:gd name="connsiteX40" fmla="*/ 5212030 w 6096000"/>
              <a:gd name="connsiteY40" fmla="*/ 1578752 h 6858000"/>
              <a:gd name="connsiteX41" fmla="*/ 5203533 w 6096000"/>
              <a:gd name="connsiteY41" fmla="*/ 1647555 h 6858000"/>
              <a:gd name="connsiteX42" fmla="*/ 5190877 w 6096000"/>
              <a:gd name="connsiteY42" fmla="*/ 1715685 h 6858000"/>
              <a:gd name="connsiteX43" fmla="*/ 5184235 w 6096000"/>
              <a:gd name="connsiteY43" fmla="*/ 1740358 h 6858000"/>
              <a:gd name="connsiteX44" fmla="*/ 5181475 w 6096000"/>
              <a:gd name="connsiteY44" fmla="*/ 1784314 h 6858000"/>
              <a:gd name="connsiteX45" fmla="*/ 5185845 w 6096000"/>
              <a:gd name="connsiteY45" fmla="*/ 1804434 h 6858000"/>
              <a:gd name="connsiteX46" fmla="*/ 5185068 w 6096000"/>
              <a:gd name="connsiteY46" fmla="*/ 1805316 h 6858000"/>
              <a:gd name="connsiteX47" fmla="*/ 5188593 w 6096000"/>
              <a:gd name="connsiteY47" fmla="*/ 1807109 h 6858000"/>
              <a:gd name="connsiteX48" fmla="*/ 5185920 w 6096000"/>
              <a:gd name="connsiteY48" fmla="*/ 1821003 h 6858000"/>
              <a:gd name="connsiteX49" fmla="*/ 5183543 w 6096000"/>
              <a:gd name="connsiteY49" fmla="*/ 1824832 h 6858000"/>
              <a:gd name="connsiteX50" fmla="*/ 5182235 w 6096000"/>
              <a:gd name="connsiteY50" fmla="*/ 1830429 h 6858000"/>
              <a:gd name="connsiteX51" fmla="*/ 5182525 w 6096000"/>
              <a:gd name="connsiteY51" fmla="*/ 1830569 h 6858000"/>
              <a:gd name="connsiteX52" fmla="*/ 5180663 w 6096000"/>
              <a:gd name="connsiteY52" fmla="*/ 1835810 h 6858000"/>
              <a:gd name="connsiteX53" fmla="*/ 5167452 w 6096000"/>
              <a:gd name="connsiteY53" fmla="*/ 1861483 h 6858000"/>
              <a:gd name="connsiteX54" fmla="*/ 5174266 w 6096000"/>
              <a:gd name="connsiteY54" fmla="*/ 1892417 h 6858000"/>
              <a:gd name="connsiteX55" fmla="*/ 5189262 w 6096000"/>
              <a:gd name="connsiteY55" fmla="*/ 1895114 h 6858000"/>
              <a:gd name="connsiteX56" fmla="*/ 5187100 w 6096000"/>
              <a:gd name="connsiteY56" fmla="*/ 1899379 h 6858000"/>
              <a:gd name="connsiteX57" fmla="*/ 5180471 w 6096000"/>
              <a:gd name="connsiteY57" fmla="*/ 1907867 h 6858000"/>
              <a:gd name="connsiteX58" fmla="*/ 5181361 w 6096000"/>
              <a:gd name="connsiteY58" fmla="*/ 1910265 h 6858000"/>
              <a:gd name="connsiteX59" fmla="*/ 5178268 w 6096000"/>
              <a:gd name="connsiteY59" fmla="*/ 1935584 h 6858000"/>
              <a:gd name="connsiteX60" fmla="*/ 5183619 w 6096000"/>
              <a:gd name="connsiteY60" fmla="*/ 1942021 h 6858000"/>
              <a:gd name="connsiteX61" fmla="*/ 5184480 w 6096000"/>
              <a:gd name="connsiteY61" fmla="*/ 1945112 h 6858000"/>
              <a:gd name="connsiteX62" fmla="*/ 5172776 w 6096000"/>
              <a:gd name="connsiteY62" fmla="*/ 1961162 h 6858000"/>
              <a:gd name="connsiteX63" fmla="*/ 5168513 w 6096000"/>
              <a:gd name="connsiteY63" fmla="*/ 1969445 h 6858000"/>
              <a:gd name="connsiteX64" fmla="*/ 5126597 w 6096000"/>
              <a:gd name="connsiteY64" fmla="*/ 2024270 h 6858000"/>
              <a:gd name="connsiteX65" fmla="*/ 5119528 w 6096000"/>
              <a:gd name="connsiteY65" fmla="*/ 2107942 h 6858000"/>
              <a:gd name="connsiteX66" fmla="*/ 5110356 w 6096000"/>
              <a:gd name="connsiteY66" fmla="*/ 2193455 h 6858000"/>
              <a:gd name="connsiteX67" fmla="*/ 5104992 w 6096000"/>
              <a:gd name="connsiteY67" fmla="*/ 2260088 h 6858000"/>
              <a:gd name="connsiteX68" fmla="*/ 5059439 w 6096000"/>
              <a:gd name="connsiteY68" fmla="*/ 2335735 h 6858000"/>
              <a:gd name="connsiteX69" fmla="*/ 5022061 w 6096000"/>
              <a:gd name="connsiteY69" fmla="*/ 2408995 h 6858000"/>
              <a:gd name="connsiteX70" fmla="*/ 5022253 w 6096000"/>
              <a:gd name="connsiteY70" fmla="*/ 2445869 h 6858000"/>
              <a:gd name="connsiteX71" fmla="*/ 5011426 w 6096000"/>
              <a:gd name="connsiteY71" fmla="*/ 2496499 h 6858000"/>
              <a:gd name="connsiteX72" fmla="*/ 4994224 w 6096000"/>
              <a:gd name="connsiteY72" fmla="*/ 2549900 h 6858000"/>
              <a:gd name="connsiteX73" fmla="*/ 4995245 w 6096000"/>
              <a:gd name="connsiteY73" fmla="*/ 2596456 h 6858000"/>
              <a:gd name="connsiteX74" fmla="*/ 4988570 w 6096000"/>
              <a:gd name="connsiteY74" fmla="*/ 2606088 h 6858000"/>
              <a:gd name="connsiteX75" fmla="*/ 4988371 w 6096000"/>
              <a:gd name="connsiteY75" fmla="*/ 2635351 h 6858000"/>
              <a:gd name="connsiteX76" fmla="*/ 4983212 w 6096000"/>
              <a:gd name="connsiteY76" fmla="*/ 2665666 h 6858000"/>
              <a:gd name="connsiteX77" fmla="*/ 4968234 w 6096000"/>
              <a:gd name="connsiteY77" fmla="*/ 2715895 h 6858000"/>
              <a:gd name="connsiteX78" fmla="*/ 4975888 w 6096000"/>
              <a:gd name="connsiteY78" fmla="*/ 2725052 h 6858000"/>
              <a:gd name="connsiteX79" fmla="*/ 4980195 w 6096000"/>
              <a:gd name="connsiteY79" fmla="*/ 2726489 h 6858000"/>
              <a:gd name="connsiteX80" fmla="*/ 4976218 w 6096000"/>
              <a:gd name="connsiteY80" fmla="*/ 2740278 h 6858000"/>
              <a:gd name="connsiteX81" fmla="*/ 4980571 w 6096000"/>
              <a:gd name="connsiteY81" fmla="*/ 2751112 h 6858000"/>
              <a:gd name="connsiteX82" fmla="*/ 4973893 w 6096000"/>
              <a:gd name="connsiteY82" fmla="*/ 2760208 h 6858000"/>
              <a:gd name="connsiteX83" fmla="*/ 4979005 w 6096000"/>
              <a:gd name="connsiteY83" fmla="*/ 2790136 h 6858000"/>
              <a:gd name="connsiteX84" fmla="*/ 4986137 w 6096000"/>
              <a:gd name="connsiteY84" fmla="*/ 2804183 h 6858000"/>
              <a:gd name="connsiteX85" fmla="*/ 4986175 w 6096000"/>
              <a:gd name="connsiteY85" fmla="*/ 2825860 h 6858000"/>
              <a:gd name="connsiteX86" fmla="*/ 4993936 w 6096000"/>
              <a:gd name="connsiteY86" fmla="*/ 2911749 h 6858000"/>
              <a:gd name="connsiteX87" fmla="*/ 4992563 w 6096000"/>
              <a:gd name="connsiteY87" fmla="*/ 2977278 h 6858000"/>
              <a:gd name="connsiteX88" fmla="*/ 4980516 w 6096000"/>
              <a:gd name="connsiteY88" fmla="*/ 2991092 h 6858000"/>
              <a:gd name="connsiteX89" fmla="*/ 4992801 w 6096000"/>
              <a:gd name="connsiteY89" fmla="*/ 3020247 h 6858000"/>
              <a:gd name="connsiteX90" fmla="*/ 5014805 w 6096000"/>
              <a:gd name="connsiteY90" fmla="*/ 3065434 h 6858000"/>
              <a:gd name="connsiteX91" fmla="*/ 5002733 w 6096000"/>
              <a:gd name="connsiteY91" fmla="*/ 3103777 h 6858000"/>
              <a:gd name="connsiteX92" fmla="*/ 5002941 w 6096000"/>
              <a:gd name="connsiteY92" fmla="*/ 3151828 h 6858000"/>
              <a:gd name="connsiteX93" fmla="*/ 5002883 w 6096000"/>
              <a:gd name="connsiteY93" fmla="*/ 3180546 h 6858000"/>
              <a:gd name="connsiteX94" fmla="*/ 5016711 w 6096000"/>
              <a:gd name="connsiteY94" fmla="*/ 3258677 h 6858000"/>
              <a:gd name="connsiteX95" fmla="*/ 5017918 w 6096000"/>
              <a:gd name="connsiteY95" fmla="*/ 3262610 h 6858000"/>
              <a:gd name="connsiteX96" fmla="*/ 5011672 w 6096000"/>
              <a:gd name="connsiteY96" fmla="*/ 3277179 h 6858000"/>
              <a:gd name="connsiteX97" fmla="*/ 5009344 w 6096000"/>
              <a:gd name="connsiteY97" fmla="*/ 3278130 h 6858000"/>
              <a:gd name="connsiteX98" fmla="*/ 5026770 w 6096000"/>
              <a:gd name="connsiteY98" fmla="*/ 3325671 h 6858000"/>
              <a:gd name="connsiteX99" fmla="*/ 5024571 w 6096000"/>
              <a:gd name="connsiteY99" fmla="*/ 3332072 h 6858000"/>
              <a:gd name="connsiteX100" fmla="*/ 5041705 w 6096000"/>
              <a:gd name="connsiteY100" fmla="*/ 3362948 h 6858000"/>
              <a:gd name="connsiteX101" fmla="*/ 5047477 w 6096000"/>
              <a:gd name="connsiteY101" fmla="*/ 3378959 h 6858000"/>
              <a:gd name="connsiteX102" fmla="*/ 5060758 w 6096000"/>
              <a:gd name="connsiteY102" fmla="*/ 3407057 h 6858000"/>
              <a:gd name="connsiteX103" fmla="*/ 5058968 w 6096000"/>
              <a:gd name="connsiteY103" fmla="*/ 3409825 h 6858000"/>
              <a:gd name="connsiteX104" fmla="*/ 5062667 w 6096000"/>
              <a:gd name="connsiteY104" fmla="*/ 3415218 h 6858000"/>
              <a:gd name="connsiteX105" fmla="*/ 5060928 w 6096000"/>
              <a:gd name="connsiteY105" fmla="*/ 3419880 h 6858000"/>
              <a:gd name="connsiteX106" fmla="*/ 5062923 w 6096000"/>
              <a:gd name="connsiteY106" fmla="*/ 3424545 h 6858000"/>
              <a:gd name="connsiteX107" fmla="*/ 5064623 w 6096000"/>
              <a:gd name="connsiteY107" fmla="*/ 3476412 h 6858000"/>
              <a:gd name="connsiteX108" fmla="*/ 5069684 w 6096000"/>
              <a:gd name="connsiteY108" fmla="*/ 3486850 h 6858000"/>
              <a:gd name="connsiteX109" fmla="*/ 5063339 w 6096000"/>
              <a:gd name="connsiteY109" fmla="*/ 3496391 h 6858000"/>
              <a:gd name="connsiteX110" fmla="*/ 5070139 w 6096000"/>
              <a:gd name="connsiteY110" fmla="*/ 3531201 h 6858000"/>
              <a:gd name="connsiteX111" fmla="*/ 5079896 w 6096000"/>
              <a:gd name="connsiteY111" fmla="*/ 3542019 h 6858000"/>
              <a:gd name="connsiteX112" fmla="*/ 5087540 w 6096000"/>
              <a:gd name="connsiteY112" fmla="*/ 3552249 h 6858000"/>
              <a:gd name="connsiteX113" fmla="*/ 5087902 w 6096000"/>
              <a:gd name="connsiteY113" fmla="*/ 3553678 h 6858000"/>
              <a:gd name="connsiteX114" fmla="*/ 5091509 w 6096000"/>
              <a:gd name="connsiteY114" fmla="*/ 3568021 h 6858000"/>
              <a:gd name="connsiteX115" fmla="*/ 5091934 w 6096000"/>
              <a:gd name="connsiteY115" fmla="*/ 3569719 h 6858000"/>
              <a:gd name="connsiteX116" fmla="*/ 5089362 w 6096000"/>
              <a:gd name="connsiteY116" fmla="*/ 3586412 h 6858000"/>
              <a:gd name="connsiteX117" fmla="*/ 5092358 w 6096000"/>
              <a:gd name="connsiteY117" fmla="*/ 3597336 h 6858000"/>
              <a:gd name="connsiteX118" fmla="*/ 5084254 w 6096000"/>
              <a:gd name="connsiteY118" fmla="*/ 3606007 h 6858000"/>
              <a:gd name="connsiteX119" fmla="*/ 5084281 w 6096000"/>
              <a:gd name="connsiteY119" fmla="*/ 3641228 h 6858000"/>
              <a:gd name="connsiteX120" fmla="*/ 5091848 w 6096000"/>
              <a:gd name="connsiteY120" fmla="*/ 3653088 h 6858000"/>
              <a:gd name="connsiteX121" fmla="*/ 5097436 w 6096000"/>
              <a:gd name="connsiteY121" fmla="*/ 3664114 h 6858000"/>
              <a:gd name="connsiteX122" fmla="*/ 5097518 w 6096000"/>
              <a:gd name="connsiteY122" fmla="*/ 3665569 h 6858000"/>
              <a:gd name="connsiteX123" fmla="*/ 5099829 w 6096000"/>
              <a:gd name="connsiteY123" fmla="*/ 3707357 h 6858000"/>
              <a:gd name="connsiteX124" fmla="*/ 5114696 w 6096000"/>
              <a:gd name="connsiteY124" fmla="*/ 3778166 h 6858000"/>
              <a:gd name="connsiteX125" fmla="*/ 5135379 w 6096000"/>
              <a:gd name="connsiteY125" fmla="*/ 3878222 h 6858000"/>
              <a:gd name="connsiteX126" fmla="*/ 5130138 w 6096000"/>
              <a:gd name="connsiteY126" fmla="*/ 4048117 h 6858000"/>
              <a:gd name="connsiteX127" fmla="*/ 5090040 w 6096000"/>
              <a:gd name="connsiteY127" fmla="*/ 4219510 h 6858000"/>
              <a:gd name="connsiteX128" fmla="*/ 5092812 w 6096000"/>
              <a:gd name="connsiteY128" fmla="*/ 4411258 h 6858000"/>
              <a:gd name="connsiteX129" fmla="*/ 5084599 w 6096000"/>
              <a:gd name="connsiteY129" fmla="*/ 4488531 h 6858000"/>
              <a:gd name="connsiteX130" fmla="*/ 5084072 w 6096000"/>
              <a:gd name="connsiteY130" fmla="*/ 4539168 h 6858000"/>
              <a:gd name="connsiteX131" fmla="*/ 5068936 w 6096000"/>
              <a:gd name="connsiteY131" fmla="*/ 4625153 h 6858000"/>
              <a:gd name="connsiteX132" fmla="*/ 5059114 w 6096000"/>
              <a:gd name="connsiteY132" fmla="*/ 4733115 h 6858000"/>
              <a:gd name="connsiteX133" fmla="*/ 5037209 w 6096000"/>
              <a:gd name="connsiteY133" fmla="*/ 4844323 h 6858000"/>
              <a:gd name="connsiteX134" fmla="*/ 5020638 w 6096000"/>
              <a:gd name="connsiteY134" fmla="*/ 4877992 h 6858000"/>
              <a:gd name="connsiteX135" fmla="*/ 5006413 w 6096000"/>
              <a:gd name="connsiteY135" fmla="*/ 4925805 h 6858000"/>
              <a:gd name="connsiteX136" fmla="*/ 4971037 w 6096000"/>
              <a:gd name="connsiteY136" fmla="*/ 5009272 h 6858000"/>
              <a:gd name="connsiteX137" fmla="*/ 4963105 w 6096000"/>
              <a:gd name="connsiteY137" fmla="*/ 5111369 h 6858000"/>
              <a:gd name="connsiteX138" fmla="*/ 4976341 w 6096000"/>
              <a:gd name="connsiteY138" fmla="*/ 5210876 h 6858000"/>
              <a:gd name="connsiteX139" fmla="*/ 4980617 w 6096000"/>
              <a:gd name="connsiteY139" fmla="*/ 5269726 h 6858000"/>
              <a:gd name="connsiteX140" fmla="*/ 4997733 w 6096000"/>
              <a:gd name="connsiteY140" fmla="*/ 5464225 h 6858000"/>
              <a:gd name="connsiteX141" fmla="*/ 5001400 w 6096000"/>
              <a:gd name="connsiteY141" fmla="*/ 5594585 h 6858000"/>
              <a:gd name="connsiteX142" fmla="*/ 4983700 w 6096000"/>
              <a:gd name="connsiteY142" fmla="*/ 5667896 h 6858000"/>
              <a:gd name="connsiteX143" fmla="*/ 4968506 w 6096000"/>
              <a:gd name="connsiteY143" fmla="*/ 5769225 h 6858000"/>
              <a:gd name="connsiteX144" fmla="*/ 4969765 w 6096000"/>
              <a:gd name="connsiteY144" fmla="*/ 5823324 h 6858000"/>
              <a:gd name="connsiteX145" fmla="*/ 4966129 w 6096000"/>
              <a:gd name="connsiteY145" fmla="*/ 5862699 h 6858000"/>
              <a:gd name="connsiteX146" fmla="*/ 4970695 w 6096000"/>
              <a:gd name="connsiteY146" fmla="*/ 5906467 h 6858000"/>
              <a:gd name="connsiteX147" fmla="*/ 4991568 w 6096000"/>
              <a:gd name="connsiteY147" fmla="*/ 5939847 h 6858000"/>
              <a:gd name="connsiteX148" fmla="*/ 4986815 w 6096000"/>
              <a:gd name="connsiteY148" fmla="*/ 5973994 h 6858000"/>
              <a:gd name="connsiteX149" fmla="*/ 4987776 w 6096000"/>
              <a:gd name="connsiteY149" fmla="*/ 6089693 h 6858000"/>
              <a:gd name="connsiteX150" fmla="*/ 4991621 w 6096000"/>
              <a:gd name="connsiteY150" fmla="*/ 6224938 h 6858000"/>
              <a:gd name="connsiteX151" fmla="*/ 5017157 w 6096000"/>
              <a:gd name="connsiteY151" fmla="*/ 6370251 h 6858000"/>
              <a:gd name="connsiteX152" fmla="*/ 5040797 w 6096000"/>
              <a:gd name="connsiteY152" fmla="*/ 6541313 h 6858000"/>
              <a:gd name="connsiteX153" fmla="*/ 5045375 w 6096000"/>
              <a:gd name="connsiteY153" fmla="*/ 6640957 h 6858000"/>
              <a:gd name="connsiteX154" fmla="*/ 5058442 w 6096000"/>
              <a:gd name="connsiteY154" fmla="*/ 6705297 h 6858000"/>
              <a:gd name="connsiteX155" fmla="*/ 5071125 w 6096000"/>
              <a:gd name="connsiteY155" fmla="*/ 6759582 h 6858000"/>
              <a:gd name="connsiteX156" fmla="*/ 5069172 w 6096000"/>
              <a:gd name="connsiteY156" fmla="*/ 6817746 h 6858000"/>
              <a:gd name="connsiteX157" fmla="*/ 5072322 w 6096000"/>
              <a:gd name="connsiteY157" fmla="*/ 6843646 h 6858000"/>
              <a:gd name="connsiteX158" fmla="*/ 5091388 w 6096000"/>
              <a:gd name="connsiteY158" fmla="*/ 6857998 h 6858000"/>
              <a:gd name="connsiteX159" fmla="*/ 6096000 w 6096000"/>
              <a:gd name="connsiteY159" fmla="*/ 6857998 h 6858000"/>
              <a:gd name="connsiteX160" fmla="*/ 6096000 w 6096000"/>
              <a:gd name="connsiteY160" fmla="*/ 6858000 h 6858000"/>
              <a:gd name="connsiteX161" fmla="*/ 0 w 6096000"/>
              <a:gd name="connsiteY16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67517" y="0"/>
                </a:lnTo>
                <a:lnTo>
                  <a:pt x="5566938" y="1705"/>
                </a:lnTo>
                <a:cubicBezTo>
                  <a:pt x="5563126" y="8440"/>
                  <a:pt x="5558112" y="13784"/>
                  <a:pt x="5551594" y="17287"/>
                </a:cubicBezTo>
                <a:cubicBezTo>
                  <a:pt x="5562364" y="82036"/>
                  <a:pt x="5510349" y="69804"/>
                  <a:pt x="5545641" y="130336"/>
                </a:cubicBezTo>
                <a:cubicBezTo>
                  <a:pt x="5526953" y="117589"/>
                  <a:pt x="5536978" y="162458"/>
                  <a:pt x="5538289" y="187093"/>
                </a:cubicBezTo>
                <a:cubicBezTo>
                  <a:pt x="5536205" y="226511"/>
                  <a:pt x="5545722" y="205530"/>
                  <a:pt x="5545790" y="265704"/>
                </a:cubicBezTo>
                <a:cubicBezTo>
                  <a:pt x="5542296" y="317533"/>
                  <a:pt x="5543813" y="325288"/>
                  <a:pt x="5542313" y="354566"/>
                </a:cubicBezTo>
                <a:lnTo>
                  <a:pt x="5524126" y="472000"/>
                </a:lnTo>
                <a:lnTo>
                  <a:pt x="5522170" y="473782"/>
                </a:lnTo>
                <a:cubicBezTo>
                  <a:pt x="5517847" y="482008"/>
                  <a:pt x="5518682" y="487340"/>
                  <a:pt x="5521798" y="491380"/>
                </a:cubicBezTo>
                <a:lnTo>
                  <a:pt x="5536419" y="531675"/>
                </a:lnTo>
                <a:lnTo>
                  <a:pt x="5533435" y="536015"/>
                </a:lnTo>
                <a:lnTo>
                  <a:pt x="5538088" y="572092"/>
                </a:lnTo>
                <a:lnTo>
                  <a:pt x="5536061" y="572511"/>
                </a:lnTo>
                <a:cubicBezTo>
                  <a:pt x="5531611" y="574271"/>
                  <a:pt x="5528529" y="577121"/>
                  <a:pt x="5528218" y="582332"/>
                </a:cubicBezTo>
                <a:cubicBezTo>
                  <a:pt x="5498002" y="573171"/>
                  <a:pt x="5516262" y="585107"/>
                  <a:pt x="5518011" y="601285"/>
                </a:cubicBezTo>
                <a:cubicBezTo>
                  <a:pt x="5508838" y="617831"/>
                  <a:pt x="5480684" y="666964"/>
                  <a:pt x="5473174" y="681608"/>
                </a:cubicBezTo>
                <a:cubicBezTo>
                  <a:pt x="5473102" y="684122"/>
                  <a:pt x="5473033" y="686637"/>
                  <a:pt x="5472963" y="689151"/>
                </a:cubicBezTo>
                <a:lnTo>
                  <a:pt x="5472485" y="689289"/>
                </a:lnTo>
                <a:cubicBezTo>
                  <a:pt x="5471434" y="690905"/>
                  <a:pt x="5470986" y="693376"/>
                  <a:pt x="5471326" y="697222"/>
                </a:cubicBezTo>
                <a:cubicBezTo>
                  <a:pt x="5471606" y="703992"/>
                  <a:pt x="5471884" y="710761"/>
                  <a:pt x="5472164" y="717531"/>
                </a:cubicBezTo>
                <a:lnTo>
                  <a:pt x="5468891" y="722494"/>
                </a:lnTo>
                <a:lnTo>
                  <a:pt x="5463081" y="724368"/>
                </a:lnTo>
                <a:lnTo>
                  <a:pt x="5446981" y="752692"/>
                </a:lnTo>
                <a:cubicBezTo>
                  <a:pt x="5454691" y="764380"/>
                  <a:pt x="5422719" y="808083"/>
                  <a:pt x="5417190" y="816346"/>
                </a:cubicBezTo>
                <a:lnTo>
                  <a:pt x="5388958" y="889417"/>
                </a:lnTo>
                <a:cubicBezTo>
                  <a:pt x="5320491" y="969963"/>
                  <a:pt x="5321907" y="1005331"/>
                  <a:pt x="5307044" y="1063288"/>
                </a:cubicBezTo>
                <a:cubicBezTo>
                  <a:pt x="5313332" y="1111028"/>
                  <a:pt x="5317096" y="1110140"/>
                  <a:pt x="5303837" y="1157176"/>
                </a:cubicBezTo>
                <a:cubicBezTo>
                  <a:pt x="5301103" y="1192124"/>
                  <a:pt x="5301884" y="1197232"/>
                  <a:pt x="5286494" y="1210776"/>
                </a:cubicBezTo>
                <a:lnTo>
                  <a:pt x="5282463" y="1301993"/>
                </a:lnTo>
                <a:lnTo>
                  <a:pt x="5252235" y="1360879"/>
                </a:lnTo>
                <a:lnTo>
                  <a:pt x="5244497" y="1404045"/>
                </a:lnTo>
                <a:lnTo>
                  <a:pt x="5223823" y="1429568"/>
                </a:lnTo>
                <a:lnTo>
                  <a:pt x="5224851" y="1430305"/>
                </a:lnTo>
                <a:cubicBezTo>
                  <a:pt x="5226697" y="1432466"/>
                  <a:pt x="5214738" y="1459891"/>
                  <a:pt x="5212394" y="1463304"/>
                </a:cubicBezTo>
                <a:cubicBezTo>
                  <a:pt x="5209912" y="1477394"/>
                  <a:pt x="5213027" y="1501295"/>
                  <a:pt x="5209958" y="1514846"/>
                </a:cubicBezTo>
                <a:lnTo>
                  <a:pt x="5206417" y="1519731"/>
                </a:lnTo>
                <a:lnTo>
                  <a:pt x="5206640" y="1519929"/>
                </a:lnTo>
                <a:cubicBezTo>
                  <a:pt x="5206490" y="1521210"/>
                  <a:pt x="5209710" y="1543635"/>
                  <a:pt x="5207632" y="1546022"/>
                </a:cubicBezTo>
                <a:lnTo>
                  <a:pt x="5212030" y="1578752"/>
                </a:lnTo>
                <a:cubicBezTo>
                  <a:pt x="5206147" y="1605585"/>
                  <a:pt x="5226381" y="1622803"/>
                  <a:pt x="5203533" y="1647555"/>
                </a:cubicBezTo>
                <a:cubicBezTo>
                  <a:pt x="5198128" y="1672675"/>
                  <a:pt x="5203213" y="1694404"/>
                  <a:pt x="5190877" y="1715685"/>
                </a:cubicBezTo>
                <a:cubicBezTo>
                  <a:pt x="5196815" y="1724301"/>
                  <a:pt x="5198098" y="1732435"/>
                  <a:pt x="5184235" y="1740358"/>
                </a:cubicBezTo>
                <a:cubicBezTo>
                  <a:pt x="5182625" y="1763793"/>
                  <a:pt x="5198368" y="1769422"/>
                  <a:pt x="5181475" y="1784314"/>
                </a:cubicBezTo>
                <a:cubicBezTo>
                  <a:pt x="5205987" y="1797417"/>
                  <a:pt x="5195246" y="1798221"/>
                  <a:pt x="5185845" y="1804434"/>
                </a:cubicBezTo>
                <a:lnTo>
                  <a:pt x="5185068" y="1805316"/>
                </a:lnTo>
                <a:lnTo>
                  <a:pt x="5188593" y="1807109"/>
                </a:lnTo>
                <a:lnTo>
                  <a:pt x="5185920" y="1821003"/>
                </a:lnTo>
                <a:lnTo>
                  <a:pt x="5183543" y="1824832"/>
                </a:lnTo>
                <a:cubicBezTo>
                  <a:pt x="5182284" y="1827468"/>
                  <a:pt x="5181937" y="1829219"/>
                  <a:pt x="5182235" y="1830429"/>
                </a:cubicBezTo>
                <a:lnTo>
                  <a:pt x="5182525" y="1830569"/>
                </a:lnTo>
                <a:lnTo>
                  <a:pt x="5180663" y="1835810"/>
                </a:lnTo>
                <a:cubicBezTo>
                  <a:pt x="5176779" y="1844665"/>
                  <a:pt x="5172297" y="1853278"/>
                  <a:pt x="5167452" y="1861483"/>
                </a:cubicBezTo>
                <a:cubicBezTo>
                  <a:pt x="5179827" y="1866643"/>
                  <a:pt x="5166788" y="1884999"/>
                  <a:pt x="5174266" y="1892417"/>
                </a:cubicBezTo>
                <a:lnTo>
                  <a:pt x="5189262" y="1895114"/>
                </a:lnTo>
                <a:lnTo>
                  <a:pt x="5187100" y="1899379"/>
                </a:lnTo>
                <a:lnTo>
                  <a:pt x="5180471" y="1907867"/>
                </a:lnTo>
                <a:cubicBezTo>
                  <a:pt x="5179609" y="1909162"/>
                  <a:pt x="5179647" y="1909994"/>
                  <a:pt x="5181361" y="1910265"/>
                </a:cubicBezTo>
                <a:cubicBezTo>
                  <a:pt x="5180995" y="1914884"/>
                  <a:pt x="5177893" y="1930292"/>
                  <a:pt x="5178268" y="1935584"/>
                </a:cubicBezTo>
                <a:lnTo>
                  <a:pt x="5183619" y="1942021"/>
                </a:lnTo>
                <a:lnTo>
                  <a:pt x="5184480" y="1945112"/>
                </a:lnTo>
                <a:lnTo>
                  <a:pt x="5172776" y="1961162"/>
                </a:lnTo>
                <a:lnTo>
                  <a:pt x="5168513" y="1969445"/>
                </a:lnTo>
                <a:lnTo>
                  <a:pt x="5126597" y="2024270"/>
                </a:lnTo>
                <a:lnTo>
                  <a:pt x="5119528" y="2107942"/>
                </a:lnTo>
                <a:cubicBezTo>
                  <a:pt x="5089290" y="2138038"/>
                  <a:pt x="5110415" y="2159228"/>
                  <a:pt x="5110356" y="2193455"/>
                </a:cubicBezTo>
                <a:cubicBezTo>
                  <a:pt x="5101302" y="2220953"/>
                  <a:pt x="5110381" y="2224200"/>
                  <a:pt x="5104992" y="2260088"/>
                </a:cubicBezTo>
                <a:cubicBezTo>
                  <a:pt x="5096504" y="2291744"/>
                  <a:pt x="5078225" y="2299003"/>
                  <a:pt x="5059439" y="2335735"/>
                </a:cubicBezTo>
                <a:cubicBezTo>
                  <a:pt x="5029465" y="2329020"/>
                  <a:pt x="5058046" y="2407546"/>
                  <a:pt x="5022061" y="2408995"/>
                </a:cubicBezTo>
                <a:cubicBezTo>
                  <a:pt x="5023289" y="2413465"/>
                  <a:pt x="5019654" y="2441580"/>
                  <a:pt x="5022253" y="2445869"/>
                </a:cubicBezTo>
                <a:cubicBezTo>
                  <a:pt x="5022440" y="2449625"/>
                  <a:pt x="5011241" y="2492743"/>
                  <a:pt x="5011426" y="2496499"/>
                </a:cubicBezTo>
                <a:lnTo>
                  <a:pt x="4994224" y="2549900"/>
                </a:lnTo>
                <a:cubicBezTo>
                  <a:pt x="4992353" y="2564757"/>
                  <a:pt x="4998952" y="2582253"/>
                  <a:pt x="4995245" y="2596456"/>
                </a:cubicBezTo>
                <a:lnTo>
                  <a:pt x="4988570" y="2606088"/>
                </a:lnTo>
                <a:cubicBezTo>
                  <a:pt x="4988504" y="2615842"/>
                  <a:pt x="4988436" y="2625597"/>
                  <a:pt x="4988371" y="2635351"/>
                </a:cubicBezTo>
                <a:lnTo>
                  <a:pt x="4983212" y="2665666"/>
                </a:lnTo>
                <a:lnTo>
                  <a:pt x="4968234" y="2715895"/>
                </a:lnTo>
                <a:lnTo>
                  <a:pt x="4975888" y="2725052"/>
                </a:lnTo>
                <a:lnTo>
                  <a:pt x="4980195" y="2726489"/>
                </a:lnTo>
                <a:lnTo>
                  <a:pt x="4976218" y="2740278"/>
                </a:lnTo>
                <a:lnTo>
                  <a:pt x="4980571" y="2751112"/>
                </a:lnTo>
                <a:lnTo>
                  <a:pt x="4973893" y="2760208"/>
                </a:lnTo>
                <a:lnTo>
                  <a:pt x="4979005" y="2790136"/>
                </a:lnTo>
                <a:lnTo>
                  <a:pt x="4986137" y="2804183"/>
                </a:lnTo>
                <a:cubicBezTo>
                  <a:pt x="4986150" y="2811409"/>
                  <a:pt x="4986162" y="2818634"/>
                  <a:pt x="4986175" y="2825860"/>
                </a:cubicBezTo>
                <a:cubicBezTo>
                  <a:pt x="4987474" y="2843788"/>
                  <a:pt x="4992871" y="2886513"/>
                  <a:pt x="4993936" y="2911749"/>
                </a:cubicBezTo>
                <a:cubicBezTo>
                  <a:pt x="4993313" y="2946689"/>
                  <a:pt x="4980300" y="2954448"/>
                  <a:pt x="4992563" y="2977278"/>
                </a:cubicBezTo>
                <a:cubicBezTo>
                  <a:pt x="4985688" y="2983455"/>
                  <a:pt x="4982051" y="2987749"/>
                  <a:pt x="4980516" y="2991092"/>
                </a:cubicBezTo>
                <a:cubicBezTo>
                  <a:pt x="4975910" y="3001119"/>
                  <a:pt x="4990216" y="3002537"/>
                  <a:pt x="4992801" y="3020247"/>
                </a:cubicBezTo>
                <a:cubicBezTo>
                  <a:pt x="4998517" y="3032637"/>
                  <a:pt x="5013148" y="3051512"/>
                  <a:pt x="5014805" y="3065434"/>
                </a:cubicBezTo>
                <a:cubicBezTo>
                  <a:pt x="4998836" y="3057428"/>
                  <a:pt x="5016840" y="3105196"/>
                  <a:pt x="5002733" y="3103777"/>
                </a:cubicBezTo>
                <a:cubicBezTo>
                  <a:pt x="5022381" y="3124610"/>
                  <a:pt x="4997365" y="3128169"/>
                  <a:pt x="5002941" y="3151828"/>
                </a:cubicBezTo>
                <a:cubicBezTo>
                  <a:pt x="5010264" y="3163902"/>
                  <a:pt x="5011356" y="3171780"/>
                  <a:pt x="5002883" y="3180546"/>
                </a:cubicBezTo>
                <a:cubicBezTo>
                  <a:pt x="5038586" y="3236545"/>
                  <a:pt x="5003723" y="3210316"/>
                  <a:pt x="5016711" y="3258677"/>
                </a:cubicBezTo>
                <a:lnTo>
                  <a:pt x="5017918" y="3262610"/>
                </a:lnTo>
                <a:lnTo>
                  <a:pt x="5011672" y="3277179"/>
                </a:lnTo>
                <a:lnTo>
                  <a:pt x="5009344" y="3278130"/>
                </a:lnTo>
                <a:lnTo>
                  <a:pt x="5026770" y="3325671"/>
                </a:lnTo>
                <a:lnTo>
                  <a:pt x="5024571" y="3332072"/>
                </a:lnTo>
                <a:lnTo>
                  <a:pt x="5041705" y="3362948"/>
                </a:lnTo>
                <a:lnTo>
                  <a:pt x="5047477" y="3378959"/>
                </a:lnTo>
                <a:lnTo>
                  <a:pt x="5060758" y="3407057"/>
                </a:lnTo>
                <a:lnTo>
                  <a:pt x="5058968" y="3409825"/>
                </a:lnTo>
                <a:lnTo>
                  <a:pt x="5062667" y="3415218"/>
                </a:lnTo>
                <a:lnTo>
                  <a:pt x="5060928" y="3419880"/>
                </a:lnTo>
                <a:lnTo>
                  <a:pt x="5062923" y="3424545"/>
                </a:lnTo>
                <a:cubicBezTo>
                  <a:pt x="5063537" y="3433967"/>
                  <a:pt x="5063494" y="3466028"/>
                  <a:pt x="5064623" y="3476412"/>
                </a:cubicBezTo>
                <a:lnTo>
                  <a:pt x="5069684" y="3486850"/>
                </a:lnTo>
                <a:lnTo>
                  <a:pt x="5063339" y="3496391"/>
                </a:lnTo>
                <a:lnTo>
                  <a:pt x="5070139" y="3531201"/>
                </a:lnTo>
                <a:lnTo>
                  <a:pt x="5079896" y="3542019"/>
                </a:lnTo>
                <a:lnTo>
                  <a:pt x="5087540" y="3552249"/>
                </a:lnTo>
                <a:lnTo>
                  <a:pt x="5087902" y="3553678"/>
                </a:lnTo>
                <a:lnTo>
                  <a:pt x="5091509" y="3568021"/>
                </a:lnTo>
                <a:lnTo>
                  <a:pt x="5091934" y="3569719"/>
                </a:lnTo>
                <a:lnTo>
                  <a:pt x="5089362" y="3586412"/>
                </a:lnTo>
                <a:lnTo>
                  <a:pt x="5092358" y="3597336"/>
                </a:lnTo>
                <a:lnTo>
                  <a:pt x="5084254" y="3606007"/>
                </a:lnTo>
                <a:cubicBezTo>
                  <a:pt x="5084262" y="3617747"/>
                  <a:pt x="5084273" y="3629488"/>
                  <a:pt x="5084281" y="3641228"/>
                </a:cubicBezTo>
                <a:lnTo>
                  <a:pt x="5091848" y="3653088"/>
                </a:lnTo>
                <a:lnTo>
                  <a:pt x="5097436" y="3664114"/>
                </a:lnTo>
                <a:cubicBezTo>
                  <a:pt x="5097463" y="3664599"/>
                  <a:pt x="5097491" y="3665084"/>
                  <a:pt x="5097518" y="3665569"/>
                </a:cubicBezTo>
                <a:cubicBezTo>
                  <a:pt x="5097915" y="3672776"/>
                  <a:pt x="5096966" y="3688591"/>
                  <a:pt x="5099829" y="3707357"/>
                </a:cubicBezTo>
                <a:cubicBezTo>
                  <a:pt x="5100505" y="3724716"/>
                  <a:pt x="5118078" y="3760234"/>
                  <a:pt x="5114696" y="3778166"/>
                </a:cubicBezTo>
                <a:cubicBezTo>
                  <a:pt x="5141627" y="3845122"/>
                  <a:pt x="5125427" y="3821305"/>
                  <a:pt x="5135379" y="3878222"/>
                </a:cubicBezTo>
                <a:cubicBezTo>
                  <a:pt x="5161519" y="3905047"/>
                  <a:pt x="5125417" y="4015047"/>
                  <a:pt x="5130138" y="4048117"/>
                </a:cubicBezTo>
                <a:cubicBezTo>
                  <a:pt x="5081804" y="4192084"/>
                  <a:pt x="5096262" y="4158987"/>
                  <a:pt x="5090040" y="4219510"/>
                </a:cubicBezTo>
                <a:cubicBezTo>
                  <a:pt x="5104553" y="4280033"/>
                  <a:pt x="5065380" y="4345686"/>
                  <a:pt x="5092812" y="4411258"/>
                </a:cubicBezTo>
                <a:cubicBezTo>
                  <a:pt x="5090630" y="4437329"/>
                  <a:pt x="5083878" y="4473140"/>
                  <a:pt x="5084599" y="4488531"/>
                </a:cubicBezTo>
                <a:cubicBezTo>
                  <a:pt x="5084423" y="4505410"/>
                  <a:pt x="5084248" y="4522289"/>
                  <a:pt x="5084072" y="4539168"/>
                </a:cubicBezTo>
                <a:cubicBezTo>
                  <a:pt x="5072114" y="4567830"/>
                  <a:pt x="5064305" y="4588197"/>
                  <a:pt x="5068936" y="4625153"/>
                </a:cubicBezTo>
                <a:cubicBezTo>
                  <a:pt x="5077433" y="4662889"/>
                  <a:pt x="5065899" y="4679357"/>
                  <a:pt x="5059114" y="4733115"/>
                </a:cubicBezTo>
                <a:cubicBezTo>
                  <a:pt x="5068687" y="4752352"/>
                  <a:pt x="5055370" y="4832308"/>
                  <a:pt x="5037209" y="4844323"/>
                </a:cubicBezTo>
                <a:cubicBezTo>
                  <a:pt x="5033444" y="4857054"/>
                  <a:pt x="5040194" y="4871554"/>
                  <a:pt x="5020638" y="4877992"/>
                </a:cubicBezTo>
                <a:cubicBezTo>
                  <a:pt x="4997151" y="4888353"/>
                  <a:pt x="5034418" y="4931200"/>
                  <a:pt x="5006413" y="4925805"/>
                </a:cubicBezTo>
                <a:cubicBezTo>
                  <a:pt x="5031964" y="4956261"/>
                  <a:pt x="4982840" y="4982633"/>
                  <a:pt x="4971037" y="5009272"/>
                </a:cubicBezTo>
                <a:cubicBezTo>
                  <a:pt x="4973259" y="5034036"/>
                  <a:pt x="4968375" y="5053859"/>
                  <a:pt x="4963105" y="5111369"/>
                </a:cubicBezTo>
                <a:cubicBezTo>
                  <a:pt x="4973224" y="5141336"/>
                  <a:pt x="4937413" y="5161742"/>
                  <a:pt x="4976341" y="5210876"/>
                </a:cubicBezTo>
                <a:cubicBezTo>
                  <a:pt x="4972455" y="5212581"/>
                  <a:pt x="4977054" y="5227501"/>
                  <a:pt x="4980617" y="5269726"/>
                </a:cubicBezTo>
                <a:cubicBezTo>
                  <a:pt x="4984182" y="5311951"/>
                  <a:pt x="4990390" y="5400671"/>
                  <a:pt x="4997733" y="5464225"/>
                </a:cubicBezTo>
                <a:cubicBezTo>
                  <a:pt x="5001765" y="5536542"/>
                  <a:pt x="4990225" y="5517959"/>
                  <a:pt x="5001400" y="5594585"/>
                </a:cubicBezTo>
                <a:cubicBezTo>
                  <a:pt x="4999908" y="5619318"/>
                  <a:pt x="4974042" y="5647975"/>
                  <a:pt x="4983700" y="5667896"/>
                </a:cubicBezTo>
                <a:cubicBezTo>
                  <a:pt x="4976834" y="5696311"/>
                  <a:pt x="4975579" y="5738356"/>
                  <a:pt x="4968506" y="5769225"/>
                </a:cubicBezTo>
                <a:cubicBezTo>
                  <a:pt x="4968926" y="5787258"/>
                  <a:pt x="4969344" y="5805291"/>
                  <a:pt x="4969765" y="5823324"/>
                </a:cubicBezTo>
                <a:cubicBezTo>
                  <a:pt x="4966122" y="5853058"/>
                  <a:pt x="4965608" y="5838948"/>
                  <a:pt x="4966129" y="5862699"/>
                </a:cubicBezTo>
                <a:lnTo>
                  <a:pt x="4970695" y="5906467"/>
                </a:lnTo>
                <a:lnTo>
                  <a:pt x="4991568" y="5939847"/>
                </a:lnTo>
                <a:cubicBezTo>
                  <a:pt x="4998848" y="5955713"/>
                  <a:pt x="4974731" y="5940131"/>
                  <a:pt x="4986815" y="5973994"/>
                </a:cubicBezTo>
                <a:cubicBezTo>
                  <a:pt x="4961187" y="5997051"/>
                  <a:pt x="4983444" y="6032039"/>
                  <a:pt x="4987776" y="6089693"/>
                </a:cubicBezTo>
                <a:lnTo>
                  <a:pt x="4991621" y="6224938"/>
                </a:lnTo>
                <a:cubicBezTo>
                  <a:pt x="4988442" y="6270972"/>
                  <a:pt x="5008962" y="6317522"/>
                  <a:pt x="5017157" y="6370251"/>
                </a:cubicBezTo>
                <a:cubicBezTo>
                  <a:pt x="5025353" y="6422980"/>
                  <a:pt x="5039938" y="6490855"/>
                  <a:pt x="5040797" y="6541313"/>
                </a:cubicBezTo>
                <a:cubicBezTo>
                  <a:pt x="5039898" y="6576319"/>
                  <a:pt x="5031912" y="6591883"/>
                  <a:pt x="5045375" y="6640957"/>
                </a:cubicBezTo>
                <a:cubicBezTo>
                  <a:pt x="5057505" y="6669536"/>
                  <a:pt x="5052276" y="6675394"/>
                  <a:pt x="5058442" y="6705297"/>
                </a:cubicBezTo>
                <a:cubicBezTo>
                  <a:pt x="5057367" y="6727133"/>
                  <a:pt x="5067901" y="6732087"/>
                  <a:pt x="5071125" y="6759582"/>
                </a:cubicBezTo>
                <a:cubicBezTo>
                  <a:pt x="5055614" y="6796071"/>
                  <a:pt x="5051656" y="6769544"/>
                  <a:pt x="5069172" y="6817746"/>
                </a:cubicBezTo>
                <a:cubicBezTo>
                  <a:pt x="5060956" y="6828354"/>
                  <a:pt x="5064525" y="6836369"/>
                  <a:pt x="5072322" y="6843646"/>
                </a:cubicBezTo>
                <a:lnTo>
                  <a:pt x="5091388" y="6857998"/>
                </a:lnTo>
                <a:lnTo>
                  <a:pt x="6096000" y="6857998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1322754" y="1522820"/>
            <a:ext cx="2748041" cy="3601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graphicFrame>
        <p:nvGraphicFramePr>
          <p:cNvPr id="8" name="Tekstiruutu 5">
            <a:extLst>
              <a:ext uri="{FF2B5EF4-FFF2-40B4-BE49-F238E27FC236}">
                <a16:creationId xmlns:a16="http://schemas.microsoft.com/office/drawing/2014/main" id="{B936F7B1-E20A-3AF0-9D08-1FF5768027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80236175"/>
              </p:ext>
            </p:extLst>
          </p:nvPr>
        </p:nvGraphicFramePr>
        <p:xfrm>
          <a:off x="432638" y="809767"/>
          <a:ext cx="4236798" cy="33898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Kuva 1">
            <a:extLst>
              <a:ext uri="{FF2B5EF4-FFF2-40B4-BE49-F238E27FC236}">
                <a16:creationId xmlns:a16="http://schemas.microsoft.com/office/drawing/2014/main" id="{B7FD1809-B3FB-4955-90C4-A5D383030601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4802645" y="1878469"/>
            <a:ext cx="7286840" cy="3101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75690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53F29798-D584-4792-9B62-3F5F5C36D6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kstiruutu 9">
            <a:extLst>
              <a:ext uri="{FF2B5EF4-FFF2-40B4-BE49-F238E27FC236}">
                <a16:creationId xmlns:a16="http://schemas.microsoft.com/office/drawing/2014/main" id="{0AA9639B-B7E2-44C5-9CA4-50187E024E5F}"/>
              </a:ext>
            </a:extLst>
          </p:cNvPr>
          <p:cNvSpPr txBox="1"/>
          <p:nvPr/>
        </p:nvSpPr>
        <p:spPr>
          <a:xfrm>
            <a:off x="838200" y="184805"/>
            <a:ext cx="10515600" cy="15058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Solun </a:t>
            </a: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aineenvaihdunta</a:t>
            </a:r>
            <a:r>
              <a:rPr lang="en-US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muodostuu</a:t>
            </a:r>
            <a:r>
              <a:rPr lang="en-US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reaktiosarjoista</a:t>
            </a:r>
            <a:endParaRPr lang="en-US" sz="3600" kern="1200" dirty="0">
              <a:solidFill>
                <a:schemeClr val="tx1"/>
              </a:solidFill>
              <a:latin typeface="Myriad Pro Semibold"/>
              <a:ea typeface="+mj-ea"/>
              <a:cs typeface="+mj-cs"/>
            </a:endParaRP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9D1B725A-9F7F-4A5F-A8A5-52289C013B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246186" y="2345961"/>
            <a:ext cx="9700246" cy="3260360"/>
          </a:xfrm>
          <a:prstGeom prst="rect">
            <a:avLst/>
          </a:prstGeom>
        </p:spPr>
      </p:pic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1322754" y="1522820"/>
            <a:ext cx="2748041" cy="3601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45352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C0C92CC4-9821-445B-8FC1-C7630CDC1D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6131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C0C92CC4-9821-445B-8FC1-C7630CDC1D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Kuva 25">
            <a:extLst>
              <a:ext uri="{FF2B5EF4-FFF2-40B4-BE49-F238E27FC236}">
                <a16:creationId xmlns:a16="http://schemas.microsoft.com/office/drawing/2014/main" id="{328AC4BB-AECD-47FE-B305-B95D452F1AE0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4931764" y="142549"/>
            <a:ext cx="4257206" cy="6586777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3C758F86-BBBF-48AA-8EC6-ADA1457FD7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211012"/>
          </a:xfrm>
        </p:spPr>
        <p:txBody>
          <a:bodyPr vert="horz">
            <a:normAutofit/>
          </a:bodyPr>
          <a:lstStyle/>
          <a:p>
            <a:r>
              <a:rPr lang="fi-FI" sz="3600" dirty="0">
                <a:cs typeface="Calibri Light"/>
              </a:rPr>
              <a:t>Tiivistelmä</a:t>
            </a:r>
            <a:endParaRPr lang="fi-FI" sz="3600" dirty="0"/>
          </a:p>
        </p:txBody>
      </p:sp>
    </p:spTree>
    <p:extLst>
      <p:ext uri="{BB962C8B-B14F-4D97-AF65-F5344CB8AC3E}">
        <p14:creationId xmlns:p14="http://schemas.microsoft.com/office/powerpoint/2010/main" val="5885155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78D098488BDB0E4DB3D1B98825041D0E" ma:contentTypeVersion="16" ma:contentTypeDescription="Luo uusi asiakirja." ma:contentTypeScope="" ma:versionID="4f89c020090708f26b985b9dc78b22b3">
  <xsd:schema xmlns:xsd="http://www.w3.org/2001/XMLSchema" xmlns:xs="http://www.w3.org/2001/XMLSchema" xmlns:p="http://schemas.microsoft.com/office/2006/metadata/properties" xmlns:ns2="b074eca8-5fb2-43da-8e1c-14493b353147" xmlns:ns3="10f150c9-2741-4e22-b721-4e123a12c6bb" targetNamespace="http://schemas.microsoft.com/office/2006/metadata/properties" ma:root="true" ma:fieldsID="6513cda6012a58a901e4874fc766236e" ns2:_="" ns3:_="">
    <xsd:import namespace="b074eca8-5fb2-43da-8e1c-14493b353147"/>
    <xsd:import namespace="10f150c9-2741-4e22-b721-4e123a12c6b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Kenen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74eca8-5fb2-43da-8e1c-14493b35314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Kenen" ma:index="19" nillable="true" ma:displayName="Kenen" ma:format="Dropdown" ma:internalName="Kenen">
      <xsd:simpleType>
        <xsd:restriction base="dms:Text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f150c9-2741-4e22-b721-4e123a12c6bb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Jakamisen tiedot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Kenen xmlns="b074eca8-5fb2-43da-8e1c-14493b353147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3133D0F-2A2B-489B-9E06-1A58888A051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074eca8-5fb2-43da-8e1c-14493b353147"/>
    <ds:schemaRef ds:uri="10f150c9-2741-4e22-b721-4e123a12c6b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F23C7F9-EAEB-49A2-A0B7-035D1E4E0389}">
  <ds:schemaRefs>
    <ds:schemaRef ds:uri="http://schemas.microsoft.com/office/2006/metadata/properties"/>
    <ds:schemaRef ds:uri="http://purl.org/dc/terms/"/>
    <ds:schemaRef ds:uri="http://schemas.microsoft.com/office/infopath/2007/PartnerControls"/>
    <ds:schemaRef ds:uri="b074eca8-5fb2-43da-8e1c-14493b353147"/>
    <ds:schemaRef ds:uri="http://schemas.openxmlformats.org/package/2006/metadata/core-properties"/>
    <ds:schemaRef ds:uri="10f150c9-2741-4e22-b721-4e123a12c6bb"/>
    <ds:schemaRef ds:uri="http://www.w3.org/XML/1998/namespace"/>
    <ds:schemaRef ds:uri="http://schemas.microsoft.com/office/2006/documentManagement/types"/>
    <ds:schemaRef ds:uri="http://purl.org/dc/elements/1.1/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A6B45939-3B9A-4C21-9D96-3DCB0242B9B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787</TotalTime>
  <Words>184</Words>
  <Application>Microsoft Office PowerPoint</Application>
  <PresentationFormat>Laajakuva</PresentationFormat>
  <Paragraphs>31</Paragraphs>
  <Slides>9</Slides>
  <Notes>0</Notes>
  <HiddenSlides>0</HiddenSlides>
  <MMClips>0</MMClips>
  <ScaleCrop>false</ScaleCrop>
  <HeadingPairs>
    <vt:vector size="8" baseType="variant">
      <vt:variant>
        <vt:lpstr>Käytetyt fontit</vt:lpstr>
      </vt:variant>
      <vt:variant>
        <vt:i4>4</vt:i4>
      </vt:variant>
      <vt:variant>
        <vt:lpstr>Teema</vt:lpstr>
      </vt:variant>
      <vt:variant>
        <vt:i4>1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9</vt:i4>
      </vt:variant>
    </vt:vector>
  </HeadingPairs>
  <TitlesOfParts>
    <vt:vector size="15" baseType="lpstr">
      <vt:lpstr>Arial</vt:lpstr>
      <vt:lpstr>Calibri</vt:lpstr>
      <vt:lpstr>Calibri Light</vt:lpstr>
      <vt:lpstr>Myriad Pro Semibold</vt:lpstr>
      <vt:lpstr>Office-teema</vt:lpstr>
      <vt:lpstr>think-cell Slide</vt:lpstr>
      <vt:lpstr>PowerPoint-esitys</vt:lpstr>
      <vt:lpstr>Proteiineilla on neljä rakennetasoa</vt:lpstr>
      <vt:lpstr>PowerPoint-esitys</vt:lpstr>
      <vt:lpstr>Entsyymit ovat solun aineenvaihduntareaktioita nopeuttavia proteiineja</vt:lpstr>
      <vt:lpstr>PowerPoint-esitys</vt:lpstr>
      <vt:lpstr>PowerPoint-esitys</vt:lpstr>
      <vt:lpstr>PowerPoint-esitys</vt:lpstr>
      <vt:lpstr>PowerPoint-esitys</vt:lpstr>
      <vt:lpstr>Tiivistelmä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Marja Penttinen</dc:creator>
  <cp:lastModifiedBy>Helena Laasjärvi</cp:lastModifiedBy>
  <cp:revision>116</cp:revision>
  <dcterms:created xsi:type="dcterms:W3CDTF">2017-07-04T08:37:15Z</dcterms:created>
  <dcterms:modified xsi:type="dcterms:W3CDTF">2022-03-21T18:06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8D098488BDB0E4DB3D1B98825041D0E</vt:lpwstr>
  </property>
</Properties>
</file>